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67" r:id="rId1"/>
    <p:sldMasterId id="2147483669" r:id="rId2"/>
    <p:sldMasterId id="2147483681" r:id="rId3"/>
  </p:sldMasterIdLst>
  <p:notesMasterIdLst>
    <p:notesMasterId r:id="rId25"/>
  </p:notes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  <p:sldId id="275" r:id="rId11"/>
    <p:sldId id="593" r:id="rId12"/>
    <p:sldId id="263" r:id="rId13"/>
    <p:sldId id="277" r:id="rId14"/>
    <p:sldId id="278" r:id="rId15"/>
    <p:sldId id="274" r:id="rId16"/>
    <p:sldId id="265" r:id="rId17"/>
    <p:sldId id="266" r:id="rId18"/>
    <p:sldId id="267" r:id="rId19"/>
    <p:sldId id="268" r:id="rId20"/>
    <p:sldId id="269" r:id="rId21"/>
    <p:sldId id="280" r:id="rId22"/>
    <p:sldId id="271" r:id="rId23"/>
    <p:sldId id="270" r:id="rId24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FCFCE20-206A-47F4-BC1C-3F66DA1E6134}">
  <a:tblStyle styleId="{2FCFCE20-206A-47F4-BC1C-3F66DA1E6134}" styleName="Table_0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0F0F0"/>
          </a:solidFill>
        </a:fill>
      </a:tcStyle>
    </a:wholeTbl>
    <a:band1H>
      <a:tcTxStyle/>
      <a:tcStyle>
        <a:tcBdr/>
        <a:fill>
          <a:solidFill>
            <a:srgbClr val="E0E0E0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E0E0E0"/>
          </a:solidFill>
        </a:fill>
      </a:tcStyle>
    </a:band1V>
    <a:band2V>
      <a:tcTxStyle/>
      <a:tcStyle>
        <a:tcBdr/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508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rgbClr val="F0F0F0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4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868" y="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6" name="Google Shape;246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7" name="Google Shape;247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48" name="Google Shape;248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9" name="Google Shape;249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0" name="Google Shape;250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16797895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8" name="Google Shape;408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09" name="Google Shape;409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r>
              <a:rPr lang="en-US" b="1"/>
              <a:t>Slide do título da apresentação</a:t>
            </a:r>
            <a:r>
              <a:rPr lang="en-US"/>
              <a:t>com logotipo do UNICEF e nova assinatura e imagem de mãe e filho. (altere a imagem do slide relevante para a apresentação.)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</a:pPr>
            <a:r>
              <a:rPr lang="en-US" i="1"/>
              <a:t>Possível uso: no início da apresentação ao apresentar o apresentador e o assunto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UNICEF Malawi/2021/HD Plus</a:t>
            </a:r>
            <a:endParaRPr/>
          </a:p>
        </p:txBody>
      </p:sp>
      <p:sp>
        <p:nvSpPr>
          <p:cNvPr id="410" name="Google Shape;410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9" name="Google Shape;489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90" name="Google Shape;490;p1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/>
              <a:t>Outras suposições: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s pressões inflacionistas seriam contidas, ajudadas pela reancoragem das expectativas em linha com a maior restritividade da orientação da política monetária e orçamental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1" name="Google Shape;491;p1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4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7" name="Google Shape;497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98" name="Google Shape;498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/>
              <a:t>Outras suposições: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s pressões inflacionistas seriam contidas, ajudadas pela reancoragem das expectativas em linha com a maior restritividade da orientação da política monetária e orçamental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99" name="Google Shape;499;p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5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5" name="Google Shape;505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06" name="Google Shape;506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07" name="Google Shape;507;p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6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" name="Google Shape;513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14" name="Google Shape;514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/>
              <a:t>Outras suposições: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s pressões inflacionistas seriam contidas, ajudadas pela reancoragem das expectativas em linha com a maior restritividade da orientação da política monetária e orçamental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15" name="Google Shape;515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7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" name="Google Shape;521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22" name="Google Shape;522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/>
              <a:t>Outras suposições: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s pressões inflacionistas seriam contidas, ajudadas pela reancoragem das expectativas em linha com a maior restritividade da orientação da política monetária e orçamental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3" name="Google Shape;523;p1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8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1" name="Google Shape;601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02" name="Google Shape;602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" name="Google Shape;533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4" name="Google Shape;534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101057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2" name="Google Shape;422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23" name="Google Shape;423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/>
              <a:t>Outras suposições: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s pressões inflacionistas seriam contidas, ajudadas pela reancoragem das expectativas em linha com a maior restritividade da orientação da política monetária e orçamental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4" name="Google Shape;424;p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2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2" name="Google Shape;432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33" name="Google Shape;433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/>
              <a:t>Outras suposições: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s pressões inflacionistas seriam contidas, ajudadas pela reancoragem das expectativas em linha com a maior restritividade da orientação da política monetária e orçamental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4" name="Google Shape;434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3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" name="Google Shape;440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41" name="Google Shape;441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/>
              <a:t>Outras suposições: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s pressões inflacionistas seriam contidas, ajudadas pela reancoragem das expectativas em linha com a maior restritividade da orientação da política monetária e orçamental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2" name="Google Shape;442;p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4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" name="Google Shape;452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53" name="Google Shape;453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/>
              <a:t>Outras suposições: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s pressões inflacionistas seriam contidas, ajudadas pela reancoragem das expectativas em linha com a maior restritividade da orientação da política monetária e orçamental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4" name="Google Shape;454;p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5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" name="Google Shape;460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61" name="Google Shape;461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/>
              <a:t>Outras suposições: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s pressões inflacionistas seriam contidas, ajudadas pela reancoragem das expectativas em linha com a maior restritividade da orientação da política monetária e orçamental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2" name="Google Shape;462;p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6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p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9" name="Google Shape;469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7" name="Google Shape;477;p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78" name="Google Shape;478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9965C7-2B25-4403-80C2-CAF25D89B580}" type="slidenum">
              <a:rPr kumimoji="0" lang="en-ZW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ZW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20811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p2"/>
          <p:cNvSpPr txBox="1">
            <a:spLocks noGrp="1"/>
          </p:cNvSpPr>
          <p:nvPr>
            <p:ph type="dt" idx="10"/>
          </p:nvPr>
        </p:nvSpPr>
        <p:spPr>
          <a:xfrm>
            <a:off x="7205133" y="6041362"/>
            <a:ext cx="9120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0" name="Google Shape;270;p2"/>
          <p:cNvSpPr txBox="1">
            <a:spLocks noGrp="1"/>
          </p:cNvSpPr>
          <p:nvPr>
            <p:ph type="ftr" idx="11"/>
          </p:nvPr>
        </p:nvSpPr>
        <p:spPr>
          <a:xfrm>
            <a:off x="677334" y="6041362"/>
            <a:ext cx="62976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1" name="Google Shape;271;p2"/>
          <p:cNvSpPr txBox="1">
            <a:spLocks noGrp="1"/>
          </p:cNvSpPr>
          <p:nvPr>
            <p:ph type="sldNum" idx="12"/>
          </p:nvPr>
        </p:nvSpPr>
        <p:spPr>
          <a:xfrm>
            <a:off x="8590663" y="6041362"/>
            <a:ext cx="683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aption">
  <p:cSld name="Title and Caption">
    <p:spTree>
      <p:nvGrpSpPr>
        <p:cNvPr id="1" name="Shape 3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" name="Google Shape;337;p11"/>
          <p:cNvSpPr txBox="1">
            <a:spLocks noGrp="1"/>
          </p:cNvSpPr>
          <p:nvPr>
            <p:ph type="title"/>
          </p:nvPr>
        </p:nvSpPr>
        <p:spPr>
          <a:xfrm>
            <a:off x="677335" y="609600"/>
            <a:ext cx="8596800" cy="340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400"/>
              <a:buFont typeface="Trebuchet MS"/>
              <a:buNone/>
              <a:defRPr sz="4400" b="0" cap="none"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8" name="Google Shape;338;p11"/>
          <p:cNvSpPr txBox="1">
            <a:spLocks noGrp="1"/>
          </p:cNvSpPr>
          <p:nvPr>
            <p:ph type="body" idx="1"/>
          </p:nvPr>
        </p:nvSpPr>
        <p:spPr>
          <a:xfrm>
            <a:off x="677335" y="4470400"/>
            <a:ext cx="8596800" cy="157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 rtl="0">
              <a:spcBef>
                <a:spcPts val="1000"/>
              </a:spcBef>
              <a:spcAft>
                <a:spcPts val="0"/>
              </a:spcAft>
              <a:buSzPts val="1440"/>
              <a:buNone/>
              <a:defRPr sz="1800">
                <a:solidFill>
                  <a:srgbClr val="3F3F3F"/>
                </a:solidFill>
              </a:defRPr>
            </a:lvl1pPr>
            <a:lvl2pPr marL="914400" lvl="1" indent="-228600" algn="l" rtl="0">
              <a:spcBef>
                <a:spcPts val="1000"/>
              </a:spcBef>
              <a:spcAft>
                <a:spcPts val="0"/>
              </a:spcAft>
              <a:buSzPts val="1440"/>
              <a:buNone/>
              <a:defRPr sz="1800">
                <a:solidFill>
                  <a:srgbClr val="888888"/>
                </a:solidFill>
              </a:defRPr>
            </a:lvl2pPr>
            <a:lvl3pPr marL="1371600" lvl="2" indent="-228600" algn="l" rtl="0">
              <a:spcBef>
                <a:spcPts val="1000"/>
              </a:spcBef>
              <a:spcAft>
                <a:spcPts val="0"/>
              </a:spcAft>
              <a:buSzPts val="1280"/>
              <a:buNone/>
              <a:defRPr sz="1600">
                <a:solidFill>
                  <a:srgbClr val="888888"/>
                </a:solidFill>
              </a:defRPr>
            </a:lvl3pPr>
            <a:lvl4pPr marL="1828800" lvl="3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4pPr>
            <a:lvl5pPr marL="2286000" lvl="4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5pPr>
            <a:lvl6pPr marL="2743200" lvl="5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6pPr>
            <a:lvl7pPr marL="3200400" lvl="6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7pPr>
            <a:lvl8pPr marL="3657600" lvl="7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8pPr>
            <a:lvl9pPr marL="4114800" lvl="8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39" name="Google Shape;339;p11"/>
          <p:cNvSpPr txBox="1">
            <a:spLocks noGrp="1"/>
          </p:cNvSpPr>
          <p:nvPr>
            <p:ph type="dt" idx="10"/>
          </p:nvPr>
        </p:nvSpPr>
        <p:spPr>
          <a:xfrm>
            <a:off x="7205133" y="6041362"/>
            <a:ext cx="9120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0" name="Google Shape;340;p11"/>
          <p:cNvSpPr txBox="1">
            <a:spLocks noGrp="1"/>
          </p:cNvSpPr>
          <p:nvPr>
            <p:ph type="ftr" idx="11"/>
          </p:nvPr>
        </p:nvSpPr>
        <p:spPr>
          <a:xfrm>
            <a:off x="677334" y="6041362"/>
            <a:ext cx="62976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1" name="Google Shape;341;p11"/>
          <p:cNvSpPr txBox="1">
            <a:spLocks noGrp="1"/>
          </p:cNvSpPr>
          <p:nvPr>
            <p:ph type="sldNum" idx="12"/>
          </p:nvPr>
        </p:nvSpPr>
        <p:spPr>
          <a:xfrm>
            <a:off x="8590663" y="6041362"/>
            <a:ext cx="683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with Caption">
  <p:cSld name="Quote with Caption"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12"/>
          <p:cNvSpPr txBox="1">
            <a:spLocks noGrp="1"/>
          </p:cNvSpPr>
          <p:nvPr>
            <p:ph type="title"/>
          </p:nvPr>
        </p:nvSpPr>
        <p:spPr>
          <a:xfrm>
            <a:off x="931334" y="609600"/>
            <a:ext cx="8094000" cy="302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400"/>
              <a:buFont typeface="Trebuchet MS"/>
              <a:buNone/>
              <a:defRPr sz="4400" b="0" cap="none"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4" name="Google Shape;344;p12"/>
          <p:cNvSpPr txBox="1">
            <a:spLocks noGrp="1"/>
          </p:cNvSpPr>
          <p:nvPr>
            <p:ph type="body" idx="1"/>
          </p:nvPr>
        </p:nvSpPr>
        <p:spPr>
          <a:xfrm>
            <a:off x="1366139" y="3632200"/>
            <a:ext cx="7224600" cy="38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l" rtl="0">
              <a:spcBef>
                <a:spcPts val="1000"/>
              </a:spcBef>
              <a:spcAft>
                <a:spcPts val="0"/>
              </a:spcAft>
              <a:buSzPts val="1280"/>
              <a:buFont typeface="Trebuchet MS"/>
              <a:buNone/>
              <a:defRPr sz="1600">
                <a:solidFill>
                  <a:srgbClr val="7F7F7F"/>
                </a:solidFill>
              </a:defRPr>
            </a:lvl1pPr>
            <a:lvl2pPr marL="914400" lvl="1" indent="-228600" algn="l" rtl="0">
              <a:spcBef>
                <a:spcPts val="1000"/>
              </a:spcBef>
              <a:spcAft>
                <a:spcPts val="0"/>
              </a:spcAft>
              <a:buSzPts val="1280"/>
              <a:buFont typeface="Trebuchet MS"/>
              <a:buNone/>
              <a:defRPr/>
            </a:lvl2pPr>
            <a:lvl3pPr marL="1371600" lvl="2" indent="-228600" algn="l" rtl="0">
              <a:spcBef>
                <a:spcPts val="1000"/>
              </a:spcBef>
              <a:spcAft>
                <a:spcPts val="0"/>
              </a:spcAft>
              <a:buSzPts val="1120"/>
              <a:buFont typeface="Trebuchet MS"/>
              <a:buNone/>
              <a:defRPr/>
            </a:lvl3pPr>
            <a:lvl4pPr marL="1828800" lvl="3" indent="-228600" algn="l" rtl="0">
              <a:spcBef>
                <a:spcPts val="1000"/>
              </a:spcBef>
              <a:spcAft>
                <a:spcPts val="0"/>
              </a:spcAft>
              <a:buSzPts val="960"/>
              <a:buFont typeface="Trebuchet MS"/>
              <a:buNone/>
              <a:defRPr/>
            </a:lvl4pPr>
            <a:lvl5pPr marL="2286000" lvl="4" indent="-228600" algn="l" rtl="0">
              <a:spcBef>
                <a:spcPts val="1000"/>
              </a:spcBef>
              <a:spcAft>
                <a:spcPts val="0"/>
              </a:spcAft>
              <a:buSzPts val="960"/>
              <a:buFont typeface="Trebuchet MS"/>
              <a:buNone/>
              <a:defRPr/>
            </a:lvl5pPr>
            <a:lvl6pPr marL="2743200" lvl="5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6pPr>
            <a:lvl7pPr marL="3200400" lvl="6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7pPr>
            <a:lvl8pPr marL="3657600" lvl="7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8pPr>
            <a:lvl9pPr marL="4114800" lvl="8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9pPr>
          </a:lstStyle>
          <a:p>
            <a:endParaRPr/>
          </a:p>
        </p:txBody>
      </p:sp>
      <p:sp>
        <p:nvSpPr>
          <p:cNvPr id="345" name="Google Shape;345;p12"/>
          <p:cNvSpPr txBox="1">
            <a:spLocks noGrp="1"/>
          </p:cNvSpPr>
          <p:nvPr>
            <p:ph type="body" idx="2"/>
          </p:nvPr>
        </p:nvSpPr>
        <p:spPr>
          <a:xfrm>
            <a:off x="677335" y="4470400"/>
            <a:ext cx="8596800" cy="157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 rtl="0">
              <a:spcBef>
                <a:spcPts val="1000"/>
              </a:spcBef>
              <a:spcAft>
                <a:spcPts val="0"/>
              </a:spcAft>
              <a:buSzPts val="1440"/>
              <a:buNone/>
              <a:defRPr sz="1800">
                <a:solidFill>
                  <a:srgbClr val="3F3F3F"/>
                </a:solidFill>
              </a:defRPr>
            </a:lvl1pPr>
            <a:lvl2pPr marL="914400" lvl="1" indent="-228600" algn="l" rtl="0">
              <a:spcBef>
                <a:spcPts val="1000"/>
              </a:spcBef>
              <a:spcAft>
                <a:spcPts val="0"/>
              </a:spcAft>
              <a:buSzPts val="1440"/>
              <a:buNone/>
              <a:defRPr sz="1800">
                <a:solidFill>
                  <a:srgbClr val="888888"/>
                </a:solidFill>
              </a:defRPr>
            </a:lvl2pPr>
            <a:lvl3pPr marL="1371600" lvl="2" indent="-228600" algn="l" rtl="0">
              <a:spcBef>
                <a:spcPts val="1000"/>
              </a:spcBef>
              <a:spcAft>
                <a:spcPts val="0"/>
              </a:spcAft>
              <a:buSzPts val="1280"/>
              <a:buNone/>
              <a:defRPr sz="1600">
                <a:solidFill>
                  <a:srgbClr val="888888"/>
                </a:solidFill>
              </a:defRPr>
            </a:lvl3pPr>
            <a:lvl4pPr marL="1828800" lvl="3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4pPr>
            <a:lvl5pPr marL="2286000" lvl="4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5pPr>
            <a:lvl6pPr marL="2743200" lvl="5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6pPr>
            <a:lvl7pPr marL="3200400" lvl="6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7pPr>
            <a:lvl8pPr marL="3657600" lvl="7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8pPr>
            <a:lvl9pPr marL="4114800" lvl="8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46" name="Google Shape;346;p12"/>
          <p:cNvSpPr txBox="1">
            <a:spLocks noGrp="1"/>
          </p:cNvSpPr>
          <p:nvPr>
            <p:ph type="dt" idx="10"/>
          </p:nvPr>
        </p:nvSpPr>
        <p:spPr>
          <a:xfrm>
            <a:off x="7205133" y="6041362"/>
            <a:ext cx="9120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7" name="Google Shape;347;p12"/>
          <p:cNvSpPr txBox="1">
            <a:spLocks noGrp="1"/>
          </p:cNvSpPr>
          <p:nvPr>
            <p:ph type="ftr" idx="11"/>
          </p:nvPr>
        </p:nvSpPr>
        <p:spPr>
          <a:xfrm>
            <a:off x="677334" y="6041362"/>
            <a:ext cx="62976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8" name="Google Shape;348;p12"/>
          <p:cNvSpPr txBox="1">
            <a:spLocks noGrp="1"/>
          </p:cNvSpPr>
          <p:nvPr>
            <p:ph type="sldNum" idx="12"/>
          </p:nvPr>
        </p:nvSpPr>
        <p:spPr>
          <a:xfrm>
            <a:off x="8590663" y="6041362"/>
            <a:ext cx="683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49" name="Google Shape;349;p12"/>
          <p:cNvSpPr txBox="1"/>
          <p:nvPr/>
        </p:nvSpPr>
        <p:spPr>
          <a:xfrm>
            <a:off x="541870" y="790378"/>
            <a:ext cx="6096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0" b="0" i="0" u="none" strike="noStrike" cap="none">
                <a:solidFill>
                  <a:srgbClr val="BFE471"/>
                </a:solidFill>
                <a:latin typeface="Arial"/>
                <a:ea typeface="Arial"/>
                <a:cs typeface="Arial"/>
                <a:sym typeface="Arial"/>
              </a:rPr>
              <a:t>“</a:t>
            </a:r>
            <a:endParaRPr/>
          </a:p>
        </p:txBody>
      </p:sp>
      <p:sp>
        <p:nvSpPr>
          <p:cNvPr id="350" name="Google Shape;350;p12"/>
          <p:cNvSpPr txBox="1"/>
          <p:nvPr/>
        </p:nvSpPr>
        <p:spPr>
          <a:xfrm>
            <a:off x="8893011" y="2886556"/>
            <a:ext cx="6096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0" b="0" i="0" u="none" strike="noStrike" cap="none">
                <a:solidFill>
                  <a:srgbClr val="BFE471"/>
                </a:solidFill>
                <a:latin typeface="Arial"/>
                <a:ea typeface="Arial"/>
                <a:cs typeface="Arial"/>
                <a:sym typeface="Arial"/>
              </a:rPr>
              <a:t>”</a:t>
            </a:r>
            <a:endParaRPr sz="1800" b="0" i="0" u="none" strike="noStrike" cap="none">
              <a:solidFill>
                <a:srgbClr val="BFE47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ame Card">
  <p:cSld name="Name Card">
    <p:spTree>
      <p:nvGrpSpPr>
        <p:cNvPr id="1" name="Shape 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" name="Google Shape;352;p13"/>
          <p:cNvSpPr txBox="1">
            <a:spLocks noGrp="1"/>
          </p:cNvSpPr>
          <p:nvPr>
            <p:ph type="title"/>
          </p:nvPr>
        </p:nvSpPr>
        <p:spPr>
          <a:xfrm>
            <a:off x="677335" y="1931988"/>
            <a:ext cx="8596800" cy="25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400"/>
              <a:buFont typeface="Trebuchet MS"/>
              <a:buNone/>
              <a:defRPr sz="4400" b="0" cap="none"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3" name="Google Shape;353;p13"/>
          <p:cNvSpPr txBox="1">
            <a:spLocks noGrp="1"/>
          </p:cNvSpPr>
          <p:nvPr>
            <p:ph type="body" idx="1"/>
          </p:nvPr>
        </p:nvSpPr>
        <p:spPr>
          <a:xfrm>
            <a:off x="677335" y="4527448"/>
            <a:ext cx="8596800" cy="151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 rtl="0">
              <a:spcBef>
                <a:spcPts val="1000"/>
              </a:spcBef>
              <a:spcAft>
                <a:spcPts val="0"/>
              </a:spcAft>
              <a:buSzPts val="1440"/>
              <a:buNone/>
              <a:defRPr sz="1800">
                <a:solidFill>
                  <a:srgbClr val="3F3F3F"/>
                </a:solidFill>
              </a:defRPr>
            </a:lvl1pPr>
            <a:lvl2pPr marL="914400" lvl="1" indent="-228600" algn="l" rtl="0">
              <a:spcBef>
                <a:spcPts val="1000"/>
              </a:spcBef>
              <a:spcAft>
                <a:spcPts val="0"/>
              </a:spcAft>
              <a:buSzPts val="1440"/>
              <a:buNone/>
              <a:defRPr sz="1800">
                <a:solidFill>
                  <a:srgbClr val="888888"/>
                </a:solidFill>
              </a:defRPr>
            </a:lvl2pPr>
            <a:lvl3pPr marL="1371600" lvl="2" indent="-228600" algn="l" rtl="0">
              <a:spcBef>
                <a:spcPts val="1000"/>
              </a:spcBef>
              <a:spcAft>
                <a:spcPts val="0"/>
              </a:spcAft>
              <a:buSzPts val="1280"/>
              <a:buNone/>
              <a:defRPr sz="1600">
                <a:solidFill>
                  <a:srgbClr val="888888"/>
                </a:solidFill>
              </a:defRPr>
            </a:lvl3pPr>
            <a:lvl4pPr marL="1828800" lvl="3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4pPr>
            <a:lvl5pPr marL="2286000" lvl="4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5pPr>
            <a:lvl6pPr marL="2743200" lvl="5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6pPr>
            <a:lvl7pPr marL="3200400" lvl="6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7pPr>
            <a:lvl8pPr marL="3657600" lvl="7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8pPr>
            <a:lvl9pPr marL="4114800" lvl="8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54" name="Google Shape;354;p13"/>
          <p:cNvSpPr txBox="1">
            <a:spLocks noGrp="1"/>
          </p:cNvSpPr>
          <p:nvPr>
            <p:ph type="dt" idx="10"/>
          </p:nvPr>
        </p:nvSpPr>
        <p:spPr>
          <a:xfrm>
            <a:off x="7205133" y="6041362"/>
            <a:ext cx="9120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5" name="Google Shape;355;p13"/>
          <p:cNvSpPr txBox="1">
            <a:spLocks noGrp="1"/>
          </p:cNvSpPr>
          <p:nvPr>
            <p:ph type="ftr" idx="11"/>
          </p:nvPr>
        </p:nvSpPr>
        <p:spPr>
          <a:xfrm>
            <a:off x="677334" y="6041362"/>
            <a:ext cx="62976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6" name="Google Shape;356;p13"/>
          <p:cNvSpPr txBox="1">
            <a:spLocks noGrp="1"/>
          </p:cNvSpPr>
          <p:nvPr>
            <p:ph type="sldNum" idx="12"/>
          </p:nvPr>
        </p:nvSpPr>
        <p:spPr>
          <a:xfrm>
            <a:off x="8590663" y="6041362"/>
            <a:ext cx="683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Name Card">
  <p:cSld name="Quote Name Card">
    <p:spTree>
      <p:nvGrpSpPr>
        <p:cNvPr id="1" name="Shape 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" name="Google Shape;358;p14"/>
          <p:cNvSpPr txBox="1">
            <a:spLocks noGrp="1"/>
          </p:cNvSpPr>
          <p:nvPr>
            <p:ph type="title"/>
          </p:nvPr>
        </p:nvSpPr>
        <p:spPr>
          <a:xfrm>
            <a:off x="931334" y="609600"/>
            <a:ext cx="8094000" cy="302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400"/>
              <a:buFont typeface="Trebuchet MS"/>
              <a:buNone/>
              <a:defRPr sz="4400" b="0" cap="none"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9" name="Google Shape;359;p14"/>
          <p:cNvSpPr txBox="1">
            <a:spLocks noGrp="1"/>
          </p:cNvSpPr>
          <p:nvPr>
            <p:ph type="body" idx="1"/>
          </p:nvPr>
        </p:nvSpPr>
        <p:spPr>
          <a:xfrm>
            <a:off x="677332" y="4013200"/>
            <a:ext cx="8596800" cy="51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 rtl="0">
              <a:spcBef>
                <a:spcPts val="1000"/>
              </a:spcBef>
              <a:spcAft>
                <a:spcPts val="0"/>
              </a:spcAft>
              <a:buSzPts val="1920"/>
              <a:buFont typeface="Trebuchet MS"/>
              <a:buNone/>
              <a:defRPr sz="2400">
                <a:solidFill>
                  <a:srgbClr val="3F3F3F"/>
                </a:solidFill>
              </a:defRPr>
            </a:lvl1pPr>
            <a:lvl2pPr marL="914400" lvl="1" indent="-228600" algn="l" rtl="0">
              <a:spcBef>
                <a:spcPts val="1000"/>
              </a:spcBef>
              <a:spcAft>
                <a:spcPts val="0"/>
              </a:spcAft>
              <a:buSzPts val="1280"/>
              <a:buFont typeface="Trebuchet MS"/>
              <a:buNone/>
              <a:defRPr/>
            </a:lvl2pPr>
            <a:lvl3pPr marL="1371600" lvl="2" indent="-228600" algn="l" rtl="0">
              <a:spcBef>
                <a:spcPts val="1000"/>
              </a:spcBef>
              <a:spcAft>
                <a:spcPts val="0"/>
              </a:spcAft>
              <a:buSzPts val="1120"/>
              <a:buFont typeface="Trebuchet MS"/>
              <a:buNone/>
              <a:defRPr/>
            </a:lvl3pPr>
            <a:lvl4pPr marL="1828800" lvl="3" indent="-228600" algn="l" rtl="0">
              <a:spcBef>
                <a:spcPts val="1000"/>
              </a:spcBef>
              <a:spcAft>
                <a:spcPts val="0"/>
              </a:spcAft>
              <a:buSzPts val="960"/>
              <a:buFont typeface="Trebuchet MS"/>
              <a:buNone/>
              <a:defRPr/>
            </a:lvl4pPr>
            <a:lvl5pPr marL="2286000" lvl="4" indent="-228600" algn="l" rtl="0">
              <a:spcBef>
                <a:spcPts val="1000"/>
              </a:spcBef>
              <a:spcAft>
                <a:spcPts val="0"/>
              </a:spcAft>
              <a:buSzPts val="960"/>
              <a:buFont typeface="Trebuchet MS"/>
              <a:buNone/>
              <a:defRPr/>
            </a:lvl5pPr>
            <a:lvl6pPr marL="2743200" lvl="5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6pPr>
            <a:lvl7pPr marL="3200400" lvl="6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7pPr>
            <a:lvl8pPr marL="3657600" lvl="7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8pPr>
            <a:lvl9pPr marL="4114800" lvl="8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9pPr>
          </a:lstStyle>
          <a:p>
            <a:endParaRPr/>
          </a:p>
        </p:txBody>
      </p:sp>
      <p:sp>
        <p:nvSpPr>
          <p:cNvPr id="360" name="Google Shape;360;p14"/>
          <p:cNvSpPr txBox="1">
            <a:spLocks noGrp="1"/>
          </p:cNvSpPr>
          <p:nvPr>
            <p:ph type="body" idx="2"/>
          </p:nvPr>
        </p:nvSpPr>
        <p:spPr>
          <a:xfrm>
            <a:off x="677335" y="4527448"/>
            <a:ext cx="8596800" cy="151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 rtl="0">
              <a:spcBef>
                <a:spcPts val="1000"/>
              </a:spcBef>
              <a:spcAft>
                <a:spcPts val="0"/>
              </a:spcAft>
              <a:buSzPts val="1440"/>
              <a:buNone/>
              <a:defRPr sz="1800">
                <a:solidFill>
                  <a:srgbClr val="7F7F7F"/>
                </a:solidFill>
              </a:defRPr>
            </a:lvl1pPr>
            <a:lvl2pPr marL="914400" lvl="1" indent="-228600" algn="l" rtl="0">
              <a:spcBef>
                <a:spcPts val="1000"/>
              </a:spcBef>
              <a:spcAft>
                <a:spcPts val="0"/>
              </a:spcAft>
              <a:buSzPts val="1440"/>
              <a:buNone/>
              <a:defRPr sz="1800">
                <a:solidFill>
                  <a:srgbClr val="888888"/>
                </a:solidFill>
              </a:defRPr>
            </a:lvl2pPr>
            <a:lvl3pPr marL="1371600" lvl="2" indent="-228600" algn="l" rtl="0">
              <a:spcBef>
                <a:spcPts val="1000"/>
              </a:spcBef>
              <a:spcAft>
                <a:spcPts val="0"/>
              </a:spcAft>
              <a:buSzPts val="1280"/>
              <a:buNone/>
              <a:defRPr sz="1600">
                <a:solidFill>
                  <a:srgbClr val="888888"/>
                </a:solidFill>
              </a:defRPr>
            </a:lvl3pPr>
            <a:lvl4pPr marL="1828800" lvl="3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4pPr>
            <a:lvl5pPr marL="2286000" lvl="4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5pPr>
            <a:lvl6pPr marL="2743200" lvl="5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6pPr>
            <a:lvl7pPr marL="3200400" lvl="6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7pPr>
            <a:lvl8pPr marL="3657600" lvl="7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8pPr>
            <a:lvl9pPr marL="4114800" lvl="8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61" name="Google Shape;361;p14"/>
          <p:cNvSpPr txBox="1">
            <a:spLocks noGrp="1"/>
          </p:cNvSpPr>
          <p:nvPr>
            <p:ph type="dt" idx="10"/>
          </p:nvPr>
        </p:nvSpPr>
        <p:spPr>
          <a:xfrm>
            <a:off x="7205133" y="6041362"/>
            <a:ext cx="9120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2" name="Google Shape;362;p14"/>
          <p:cNvSpPr txBox="1">
            <a:spLocks noGrp="1"/>
          </p:cNvSpPr>
          <p:nvPr>
            <p:ph type="ftr" idx="11"/>
          </p:nvPr>
        </p:nvSpPr>
        <p:spPr>
          <a:xfrm>
            <a:off x="677334" y="6041362"/>
            <a:ext cx="62976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3" name="Google Shape;363;p14"/>
          <p:cNvSpPr txBox="1">
            <a:spLocks noGrp="1"/>
          </p:cNvSpPr>
          <p:nvPr>
            <p:ph type="sldNum" idx="12"/>
          </p:nvPr>
        </p:nvSpPr>
        <p:spPr>
          <a:xfrm>
            <a:off x="8590663" y="6041362"/>
            <a:ext cx="683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64" name="Google Shape;364;p14"/>
          <p:cNvSpPr txBox="1"/>
          <p:nvPr/>
        </p:nvSpPr>
        <p:spPr>
          <a:xfrm>
            <a:off x="541870" y="790378"/>
            <a:ext cx="6096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0" b="0" i="0" u="none" strike="noStrike" cap="none">
                <a:solidFill>
                  <a:srgbClr val="BFE471"/>
                </a:solidFill>
                <a:latin typeface="Arial"/>
                <a:ea typeface="Arial"/>
                <a:cs typeface="Arial"/>
                <a:sym typeface="Arial"/>
              </a:rPr>
              <a:t>“</a:t>
            </a:r>
            <a:endParaRPr/>
          </a:p>
        </p:txBody>
      </p:sp>
      <p:sp>
        <p:nvSpPr>
          <p:cNvPr id="365" name="Google Shape;365;p14"/>
          <p:cNvSpPr txBox="1"/>
          <p:nvPr/>
        </p:nvSpPr>
        <p:spPr>
          <a:xfrm>
            <a:off x="8893011" y="2886556"/>
            <a:ext cx="6096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0" b="0" i="0" u="none" strike="noStrike" cap="none">
                <a:solidFill>
                  <a:srgbClr val="BFE471"/>
                </a:solidFill>
                <a:latin typeface="Arial"/>
                <a:ea typeface="Arial"/>
                <a:cs typeface="Arial"/>
                <a:sym typeface="Arial"/>
              </a:rPr>
              <a:t>”</a:t>
            </a:r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rue or False">
  <p:cSld name="True or False">
    <p:spTree>
      <p:nvGrpSpPr>
        <p:cNvPr id="1" name="Shape 3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7" name="Google Shape;367;p15"/>
          <p:cNvSpPr txBox="1">
            <a:spLocks noGrp="1"/>
          </p:cNvSpPr>
          <p:nvPr>
            <p:ph type="title"/>
          </p:nvPr>
        </p:nvSpPr>
        <p:spPr>
          <a:xfrm>
            <a:off x="685799" y="609600"/>
            <a:ext cx="8588100" cy="302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400"/>
              <a:buFont typeface="Trebuchet MS"/>
              <a:buNone/>
              <a:defRPr sz="4400" b="0" cap="none"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8" name="Google Shape;368;p15"/>
          <p:cNvSpPr txBox="1">
            <a:spLocks noGrp="1"/>
          </p:cNvSpPr>
          <p:nvPr>
            <p:ph type="body" idx="1"/>
          </p:nvPr>
        </p:nvSpPr>
        <p:spPr>
          <a:xfrm>
            <a:off x="677332" y="4013200"/>
            <a:ext cx="8596800" cy="51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 rtl="0">
              <a:spcBef>
                <a:spcPts val="1000"/>
              </a:spcBef>
              <a:spcAft>
                <a:spcPts val="0"/>
              </a:spcAft>
              <a:buSzPts val="1920"/>
              <a:buFont typeface="Trebuchet MS"/>
              <a:buNone/>
              <a:defRPr sz="2400">
                <a:solidFill>
                  <a:schemeClr val="accent1"/>
                </a:solidFill>
              </a:defRPr>
            </a:lvl1pPr>
            <a:lvl2pPr marL="914400" lvl="1" indent="-228600" algn="l" rtl="0">
              <a:spcBef>
                <a:spcPts val="1000"/>
              </a:spcBef>
              <a:spcAft>
                <a:spcPts val="0"/>
              </a:spcAft>
              <a:buSzPts val="1280"/>
              <a:buFont typeface="Trebuchet MS"/>
              <a:buNone/>
              <a:defRPr/>
            </a:lvl2pPr>
            <a:lvl3pPr marL="1371600" lvl="2" indent="-228600" algn="l" rtl="0">
              <a:spcBef>
                <a:spcPts val="1000"/>
              </a:spcBef>
              <a:spcAft>
                <a:spcPts val="0"/>
              </a:spcAft>
              <a:buSzPts val="1120"/>
              <a:buFont typeface="Trebuchet MS"/>
              <a:buNone/>
              <a:defRPr/>
            </a:lvl3pPr>
            <a:lvl4pPr marL="1828800" lvl="3" indent="-228600" algn="l" rtl="0">
              <a:spcBef>
                <a:spcPts val="1000"/>
              </a:spcBef>
              <a:spcAft>
                <a:spcPts val="0"/>
              </a:spcAft>
              <a:buSzPts val="960"/>
              <a:buFont typeface="Trebuchet MS"/>
              <a:buNone/>
              <a:defRPr/>
            </a:lvl4pPr>
            <a:lvl5pPr marL="2286000" lvl="4" indent="-228600" algn="l" rtl="0">
              <a:spcBef>
                <a:spcPts val="1000"/>
              </a:spcBef>
              <a:spcAft>
                <a:spcPts val="0"/>
              </a:spcAft>
              <a:buSzPts val="960"/>
              <a:buFont typeface="Trebuchet MS"/>
              <a:buNone/>
              <a:defRPr/>
            </a:lvl5pPr>
            <a:lvl6pPr marL="2743200" lvl="5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6pPr>
            <a:lvl7pPr marL="3200400" lvl="6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7pPr>
            <a:lvl8pPr marL="3657600" lvl="7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8pPr>
            <a:lvl9pPr marL="4114800" lvl="8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9pPr>
          </a:lstStyle>
          <a:p>
            <a:endParaRPr/>
          </a:p>
        </p:txBody>
      </p:sp>
      <p:sp>
        <p:nvSpPr>
          <p:cNvPr id="369" name="Google Shape;369;p15"/>
          <p:cNvSpPr txBox="1">
            <a:spLocks noGrp="1"/>
          </p:cNvSpPr>
          <p:nvPr>
            <p:ph type="body" idx="2"/>
          </p:nvPr>
        </p:nvSpPr>
        <p:spPr>
          <a:xfrm>
            <a:off x="677335" y="4527448"/>
            <a:ext cx="8596800" cy="151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 rtl="0">
              <a:spcBef>
                <a:spcPts val="1000"/>
              </a:spcBef>
              <a:spcAft>
                <a:spcPts val="0"/>
              </a:spcAft>
              <a:buSzPts val="1440"/>
              <a:buNone/>
              <a:defRPr sz="1800">
                <a:solidFill>
                  <a:srgbClr val="7F7F7F"/>
                </a:solidFill>
              </a:defRPr>
            </a:lvl1pPr>
            <a:lvl2pPr marL="914400" lvl="1" indent="-228600" algn="l" rtl="0">
              <a:spcBef>
                <a:spcPts val="1000"/>
              </a:spcBef>
              <a:spcAft>
                <a:spcPts val="0"/>
              </a:spcAft>
              <a:buSzPts val="1440"/>
              <a:buNone/>
              <a:defRPr sz="1800">
                <a:solidFill>
                  <a:srgbClr val="888888"/>
                </a:solidFill>
              </a:defRPr>
            </a:lvl2pPr>
            <a:lvl3pPr marL="1371600" lvl="2" indent="-228600" algn="l" rtl="0">
              <a:spcBef>
                <a:spcPts val="1000"/>
              </a:spcBef>
              <a:spcAft>
                <a:spcPts val="0"/>
              </a:spcAft>
              <a:buSzPts val="1280"/>
              <a:buNone/>
              <a:defRPr sz="1600">
                <a:solidFill>
                  <a:srgbClr val="888888"/>
                </a:solidFill>
              </a:defRPr>
            </a:lvl3pPr>
            <a:lvl4pPr marL="1828800" lvl="3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4pPr>
            <a:lvl5pPr marL="2286000" lvl="4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5pPr>
            <a:lvl6pPr marL="2743200" lvl="5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6pPr>
            <a:lvl7pPr marL="3200400" lvl="6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7pPr>
            <a:lvl8pPr marL="3657600" lvl="7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8pPr>
            <a:lvl9pPr marL="4114800" lvl="8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70" name="Google Shape;370;p15"/>
          <p:cNvSpPr txBox="1">
            <a:spLocks noGrp="1"/>
          </p:cNvSpPr>
          <p:nvPr>
            <p:ph type="dt" idx="10"/>
          </p:nvPr>
        </p:nvSpPr>
        <p:spPr>
          <a:xfrm>
            <a:off x="7205133" y="6041362"/>
            <a:ext cx="9120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1" name="Google Shape;371;p15"/>
          <p:cNvSpPr txBox="1">
            <a:spLocks noGrp="1"/>
          </p:cNvSpPr>
          <p:nvPr>
            <p:ph type="ftr" idx="11"/>
          </p:nvPr>
        </p:nvSpPr>
        <p:spPr>
          <a:xfrm>
            <a:off x="677334" y="6041362"/>
            <a:ext cx="62976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2" name="Google Shape;372;p15"/>
          <p:cNvSpPr txBox="1">
            <a:spLocks noGrp="1"/>
          </p:cNvSpPr>
          <p:nvPr>
            <p:ph type="sldNum" idx="12"/>
          </p:nvPr>
        </p:nvSpPr>
        <p:spPr>
          <a:xfrm>
            <a:off x="8590663" y="6041362"/>
            <a:ext cx="683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Google Shape;374;p16"/>
          <p:cNvSpPr txBox="1">
            <a:spLocks noGrp="1"/>
          </p:cNvSpPr>
          <p:nvPr>
            <p:ph type="title"/>
          </p:nvPr>
        </p:nvSpPr>
        <p:spPr>
          <a:xfrm>
            <a:off x="677334" y="609600"/>
            <a:ext cx="8596800" cy="1320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5" name="Google Shape;375;p16"/>
          <p:cNvSpPr txBox="1">
            <a:spLocks noGrp="1"/>
          </p:cNvSpPr>
          <p:nvPr>
            <p:ph type="body" idx="1"/>
          </p:nvPr>
        </p:nvSpPr>
        <p:spPr>
          <a:xfrm rot="5400000">
            <a:off x="3035202" y="-197411"/>
            <a:ext cx="3880800" cy="859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1pPr>
            <a:lvl2pPr marL="914400" lvl="1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2pPr>
            <a:lvl3pPr marL="1371600" lvl="2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3pPr>
            <a:lvl4pPr marL="1828800" lvl="3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4pPr>
            <a:lvl5pPr marL="2286000" lvl="4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5pPr>
            <a:lvl6pPr marL="2743200" lvl="5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6pPr>
            <a:lvl7pPr marL="3200400" lvl="6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7pPr>
            <a:lvl8pPr marL="3657600" lvl="7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8pPr>
            <a:lvl9pPr marL="4114800" lvl="8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9pPr>
          </a:lstStyle>
          <a:p>
            <a:endParaRPr/>
          </a:p>
        </p:txBody>
      </p:sp>
      <p:sp>
        <p:nvSpPr>
          <p:cNvPr id="376" name="Google Shape;376;p16"/>
          <p:cNvSpPr txBox="1">
            <a:spLocks noGrp="1"/>
          </p:cNvSpPr>
          <p:nvPr>
            <p:ph type="dt" idx="10"/>
          </p:nvPr>
        </p:nvSpPr>
        <p:spPr>
          <a:xfrm>
            <a:off x="7205133" y="6041362"/>
            <a:ext cx="9120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7" name="Google Shape;377;p16"/>
          <p:cNvSpPr txBox="1">
            <a:spLocks noGrp="1"/>
          </p:cNvSpPr>
          <p:nvPr>
            <p:ph type="ftr" idx="11"/>
          </p:nvPr>
        </p:nvSpPr>
        <p:spPr>
          <a:xfrm>
            <a:off x="677334" y="6041362"/>
            <a:ext cx="62976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8" name="Google Shape;378;p16"/>
          <p:cNvSpPr txBox="1">
            <a:spLocks noGrp="1"/>
          </p:cNvSpPr>
          <p:nvPr>
            <p:ph type="sldNum" idx="12"/>
          </p:nvPr>
        </p:nvSpPr>
        <p:spPr>
          <a:xfrm>
            <a:off x="8590663" y="6041362"/>
            <a:ext cx="683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_TITLE_AND_VERTICAL_TEXT">
    <p:spTree>
      <p:nvGrpSpPr>
        <p:cNvPr id="1" name="Shape 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" name="Google Shape;380;p17"/>
          <p:cNvSpPr txBox="1">
            <a:spLocks noGrp="1"/>
          </p:cNvSpPr>
          <p:nvPr>
            <p:ph type="title"/>
          </p:nvPr>
        </p:nvSpPr>
        <p:spPr>
          <a:xfrm rot="5400000">
            <a:off x="5994316" y="2582999"/>
            <a:ext cx="5251500" cy="130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1" name="Google Shape;381;p17"/>
          <p:cNvSpPr txBox="1">
            <a:spLocks noGrp="1"/>
          </p:cNvSpPr>
          <p:nvPr>
            <p:ph type="body" idx="1"/>
          </p:nvPr>
        </p:nvSpPr>
        <p:spPr>
          <a:xfrm rot="5400000">
            <a:off x="1581635" y="-294750"/>
            <a:ext cx="5251500" cy="706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1pPr>
            <a:lvl2pPr marL="914400" lvl="1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2pPr>
            <a:lvl3pPr marL="1371600" lvl="2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3pPr>
            <a:lvl4pPr marL="1828800" lvl="3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4pPr>
            <a:lvl5pPr marL="2286000" lvl="4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5pPr>
            <a:lvl6pPr marL="2743200" lvl="5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6pPr>
            <a:lvl7pPr marL="3200400" lvl="6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7pPr>
            <a:lvl8pPr marL="3657600" lvl="7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8pPr>
            <a:lvl9pPr marL="4114800" lvl="8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9pPr>
          </a:lstStyle>
          <a:p>
            <a:endParaRPr/>
          </a:p>
        </p:txBody>
      </p:sp>
      <p:sp>
        <p:nvSpPr>
          <p:cNvPr id="382" name="Google Shape;382;p17"/>
          <p:cNvSpPr txBox="1">
            <a:spLocks noGrp="1"/>
          </p:cNvSpPr>
          <p:nvPr>
            <p:ph type="dt" idx="10"/>
          </p:nvPr>
        </p:nvSpPr>
        <p:spPr>
          <a:xfrm>
            <a:off x="7205133" y="6041362"/>
            <a:ext cx="9120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3" name="Google Shape;383;p17"/>
          <p:cNvSpPr txBox="1">
            <a:spLocks noGrp="1"/>
          </p:cNvSpPr>
          <p:nvPr>
            <p:ph type="ftr" idx="11"/>
          </p:nvPr>
        </p:nvSpPr>
        <p:spPr>
          <a:xfrm>
            <a:off x="677334" y="6041362"/>
            <a:ext cx="62976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4" name="Google Shape;384;p17"/>
          <p:cNvSpPr txBox="1">
            <a:spLocks noGrp="1"/>
          </p:cNvSpPr>
          <p:nvPr>
            <p:ph type="sldNum" idx="12"/>
          </p:nvPr>
        </p:nvSpPr>
        <p:spPr>
          <a:xfrm>
            <a:off x="8590663" y="6041362"/>
            <a:ext cx="683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1327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57514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22916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type="title">
  <p:cSld name="TITLE"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3" name="Google Shape;273;p3"/>
          <p:cNvGrpSpPr/>
          <p:nvPr/>
        </p:nvGrpSpPr>
        <p:grpSpPr>
          <a:xfrm>
            <a:off x="-104" y="-8467"/>
            <a:ext cx="12192237" cy="6866580"/>
            <a:chOff x="-104" y="-8467"/>
            <a:chExt cx="12192237" cy="6866580"/>
          </a:xfrm>
        </p:grpSpPr>
        <p:cxnSp>
          <p:nvCxnSpPr>
            <p:cNvPr id="274" name="Google Shape;274;p3"/>
            <p:cNvCxnSpPr/>
            <p:nvPr/>
          </p:nvCxnSpPr>
          <p:spPr>
            <a:xfrm>
              <a:off x="9371012" y="0"/>
              <a:ext cx="1219200" cy="6858000"/>
            </a:xfrm>
            <a:prstGeom prst="straightConnector1">
              <a:avLst/>
            </a:prstGeom>
            <a:noFill/>
            <a:ln w="9525" cap="flat" cmpd="sng">
              <a:solidFill>
                <a:srgbClr val="BFBFB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275" name="Google Shape;275;p3"/>
            <p:cNvCxnSpPr/>
            <p:nvPr/>
          </p:nvCxnSpPr>
          <p:spPr>
            <a:xfrm flipH="1">
              <a:off x="7425125" y="3681413"/>
              <a:ext cx="4763700" cy="3176700"/>
            </a:xfrm>
            <a:prstGeom prst="straightConnector1">
              <a:avLst/>
            </a:prstGeom>
            <a:noFill/>
            <a:ln w="9525" cap="flat" cmpd="sng">
              <a:solidFill>
                <a:srgbClr val="D8D8D8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276" name="Google Shape;276;p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 extrusionOk="0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29800"/>
              </a:schemeClr>
            </a:solidFill>
            <a:ln>
              <a:noFill/>
            </a:ln>
          </p:spPr>
        </p:sp>
        <p:sp>
          <p:nvSpPr>
            <p:cNvPr id="277" name="Google Shape;277;p3"/>
            <p:cNvSpPr/>
            <p:nvPr/>
          </p:nvSpPr>
          <p:spPr>
            <a:xfrm>
              <a:off x="9603442" y="-8467"/>
              <a:ext cx="258617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 extrusionOk="0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</p:spPr>
        </p:sp>
        <p:sp>
          <p:nvSpPr>
            <p:cNvPr id="278" name="Google Shape;278;p3"/>
            <p:cNvSpPr/>
            <p:nvPr/>
          </p:nvSpPr>
          <p:spPr>
            <a:xfrm>
              <a:off x="8932333" y="3048000"/>
              <a:ext cx="3259800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176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" name="Google Shape;279;p3"/>
            <p:cNvSpPr/>
            <p:nvPr/>
          </p:nvSpPr>
          <p:spPr>
            <a:xfrm>
              <a:off x="9334500" y="-8467"/>
              <a:ext cx="2850868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 extrusionOk="0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F7818">
                <a:alpha val="69800"/>
              </a:srgbClr>
            </a:solidFill>
            <a:ln>
              <a:noFill/>
            </a:ln>
          </p:spPr>
        </p:sp>
        <p:sp>
          <p:nvSpPr>
            <p:cNvPr id="280" name="Google Shape;280;p3"/>
            <p:cNvSpPr/>
            <p:nvPr/>
          </p:nvSpPr>
          <p:spPr>
            <a:xfrm>
              <a:off x="10898730" y="-8467"/>
              <a:ext cx="1290094" cy="6858000"/>
            </a:xfrm>
            <a:custGeom>
              <a:avLst/>
              <a:gdLst/>
              <a:ahLst/>
              <a:cxnLst/>
              <a:rect l="l" t="t" r="r" b="b"/>
              <a:pathLst>
                <a:path w="1290094" h="6858000" extrusionOk="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rgbClr val="BFE471">
                <a:alpha val="69800"/>
              </a:srgbClr>
            </a:solidFill>
            <a:ln>
              <a:noFill/>
            </a:ln>
          </p:spPr>
        </p:sp>
        <p:sp>
          <p:nvSpPr>
            <p:cNvPr id="281" name="Google Shape;281;p3"/>
            <p:cNvSpPr/>
            <p:nvPr/>
          </p:nvSpPr>
          <p:spPr>
            <a:xfrm>
              <a:off x="10938999" y="-8467"/>
              <a:ext cx="1249825" cy="6858000"/>
            </a:xfrm>
            <a:custGeom>
              <a:avLst/>
              <a:gdLst/>
              <a:ahLst/>
              <a:cxnLst/>
              <a:rect l="l" t="t" r="r" b="b"/>
              <a:pathLst>
                <a:path w="1249825" h="6858000" extrusionOk="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4709"/>
              </a:schemeClr>
            </a:solidFill>
            <a:ln>
              <a:noFill/>
            </a:ln>
          </p:spPr>
        </p:sp>
        <p:sp>
          <p:nvSpPr>
            <p:cNvPr id="282" name="Google Shape;282;p3"/>
            <p:cNvSpPr/>
            <p:nvPr/>
          </p:nvSpPr>
          <p:spPr>
            <a:xfrm>
              <a:off x="10371666" y="3589867"/>
              <a:ext cx="1817100" cy="32682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" name="Google Shape;283;p3"/>
            <p:cNvSpPr/>
            <p:nvPr/>
          </p:nvSpPr>
          <p:spPr>
            <a:xfrm rot="10800000">
              <a:off x="-104" y="54"/>
              <a:ext cx="842700" cy="56661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47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84" name="Google Shape;284;p3"/>
          <p:cNvSpPr txBox="1">
            <a:spLocks noGrp="1"/>
          </p:cNvSpPr>
          <p:nvPr>
            <p:ph type="ctrTitle"/>
          </p:nvPr>
        </p:nvSpPr>
        <p:spPr>
          <a:xfrm>
            <a:off x="1507067" y="2404534"/>
            <a:ext cx="7767000" cy="164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5400"/>
              <a:buFont typeface="Trebuchet MS"/>
              <a:buNone/>
              <a:defRPr sz="5400">
                <a:solidFill>
                  <a:schemeClr val="accen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5" name="Google Shape;285;p3"/>
          <p:cNvSpPr txBox="1">
            <a:spLocks noGrp="1"/>
          </p:cNvSpPr>
          <p:nvPr>
            <p:ph type="subTitle" idx="1"/>
          </p:nvPr>
        </p:nvSpPr>
        <p:spPr>
          <a:xfrm>
            <a:off x="1507067" y="4050833"/>
            <a:ext cx="7767000" cy="109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r" rtl="0">
              <a:spcBef>
                <a:spcPts val="1000"/>
              </a:spcBef>
              <a:spcAft>
                <a:spcPts val="0"/>
              </a:spcAft>
              <a:buSzPts val="1440"/>
              <a:buNone/>
              <a:defRPr>
                <a:solidFill>
                  <a:srgbClr val="7F7F7F"/>
                </a:solidFill>
              </a:defRPr>
            </a:lvl1pPr>
            <a:lvl2pPr lvl="1" algn="ctr" rtl="0">
              <a:spcBef>
                <a:spcPts val="1000"/>
              </a:spcBef>
              <a:spcAft>
                <a:spcPts val="0"/>
              </a:spcAft>
              <a:buSzPts val="1280"/>
              <a:buNone/>
              <a:defRPr>
                <a:solidFill>
                  <a:srgbClr val="888888"/>
                </a:solidFill>
              </a:defRPr>
            </a:lvl2pPr>
            <a:lvl3pPr lvl="2" algn="ctr" rtl="0">
              <a:spcBef>
                <a:spcPts val="1000"/>
              </a:spcBef>
              <a:spcAft>
                <a:spcPts val="0"/>
              </a:spcAft>
              <a:buSzPts val="1120"/>
              <a:buNone/>
              <a:defRPr>
                <a:solidFill>
                  <a:srgbClr val="888888"/>
                </a:solidFill>
              </a:defRPr>
            </a:lvl3pPr>
            <a:lvl4pPr lvl="3" algn="ctr" rtl="0">
              <a:spcBef>
                <a:spcPts val="1000"/>
              </a:spcBef>
              <a:spcAft>
                <a:spcPts val="0"/>
              </a:spcAft>
              <a:buSzPts val="960"/>
              <a:buNone/>
              <a:defRPr>
                <a:solidFill>
                  <a:srgbClr val="888888"/>
                </a:solidFill>
              </a:defRPr>
            </a:lvl4pPr>
            <a:lvl5pPr lvl="4" algn="ctr" rtl="0">
              <a:spcBef>
                <a:spcPts val="1000"/>
              </a:spcBef>
              <a:spcAft>
                <a:spcPts val="0"/>
              </a:spcAft>
              <a:buSzPts val="960"/>
              <a:buNone/>
              <a:defRPr>
                <a:solidFill>
                  <a:srgbClr val="888888"/>
                </a:solidFill>
              </a:defRPr>
            </a:lvl5pPr>
            <a:lvl6pPr lvl="5" algn="ctr" rtl="0">
              <a:spcBef>
                <a:spcPts val="1000"/>
              </a:spcBef>
              <a:spcAft>
                <a:spcPts val="0"/>
              </a:spcAft>
              <a:buSzPts val="960"/>
              <a:buNone/>
              <a:defRPr>
                <a:solidFill>
                  <a:srgbClr val="888888"/>
                </a:solidFill>
              </a:defRPr>
            </a:lvl6pPr>
            <a:lvl7pPr lvl="6" algn="ctr" rtl="0">
              <a:spcBef>
                <a:spcPts val="1000"/>
              </a:spcBef>
              <a:spcAft>
                <a:spcPts val="0"/>
              </a:spcAft>
              <a:buSzPts val="960"/>
              <a:buNone/>
              <a:defRPr>
                <a:solidFill>
                  <a:srgbClr val="888888"/>
                </a:solidFill>
              </a:defRPr>
            </a:lvl7pPr>
            <a:lvl8pPr lvl="7" algn="ctr" rtl="0">
              <a:spcBef>
                <a:spcPts val="1000"/>
              </a:spcBef>
              <a:spcAft>
                <a:spcPts val="0"/>
              </a:spcAft>
              <a:buSzPts val="960"/>
              <a:buNone/>
              <a:defRPr>
                <a:solidFill>
                  <a:srgbClr val="888888"/>
                </a:solidFill>
              </a:defRPr>
            </a:lvl8pPr>
            <a:lvl9pPr lvl="8" algn="ctr" rtl="0">
              <a:spcBef>
                <a:spcPts val="1000"/>
              </a:spcBef>
              <a:spcAft>
                <a:spcPts val="0"/>
              </a:spcAft>
              <a:buSzPts val="96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86" name="Google Shape;286;p3"/>
          <p:cNvSpPr txBox="1">
            <a:spLocks noGrp="1"/>
          </p:cNvSpPr>
          <p:nvPr>
            <p:ph type="dt" idx="10"/>
          </p:nvPr>
        </p:nvSpPr>
        <p:spPr>
          <a:xfrm>
            <a:off x="7205133" y="6041362"/>
            <a:ext cx="9120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7" name="Google Shape;287;p3"/>
          <p:cNvSpPr txBox="1">
            <a:spLocks noGrp="1"/>
          </p:cNvSpPr>
          <p:nvPr>
            <p:ph type="ftr" idx="11"/>
          </p:nvPr>
        </p:nvSpPr>
        <p:spPr>
          <a:xfrm>
            <a:off x="677334" y="6041362"/>
            <a:ext cx="62976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8" name="Google Shape;288;p3"/>
          <p:cNvSpPr txBox="1">
            <a:spLocks noGrp="1"/>
          </p:cNvSpPr>
          <p:nvPr>
            <p:ph type="sldNum" idx="12"/>
          </p:nvPr>
        </p:nvSpPr>
        <p:spPr>
          <a:xfrm>
            <a:off x="8590663" y="6041362"/>
            <a:ext cx="683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9086866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3027552"/>
      </p:ext>
    </p:extLst>
  </p:cSld>
  <p:clrMapOvr>
    <a:masterClrMapping/>
  </p:clrMapOvr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526556-960B-4526-9FE9-6799BE341A38}" type="datetimeFigureOut">
              <a:rPr lang="en-US" smtClean="0"/>
              <a:t>11/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01532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889076"/>
      </p:ext>
    </p:extLst>
  </p:cSld>
  <p:clrMapOvr>
    <a:masterClrMapping/>
  </p:clrMapOvr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6499212"/>
      </p:ext>
    </p:ext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3726625"/>
      </p:ext>
    </p:extLst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5790074"/>
      </p:ext>
    </p:extLst>
  </p:cSld>
  <p:clrMapOvr>
    <a:masterClrMapping/>
  </p:clrMapOvr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5330232"/>
      </p:ext>
    </p:extLst>
  </p:cSld>
  <p:clrMapOvr>
    <a:masterClrMapping/>
  </p:clrMapOvr>
  <p:hf sldNum="0"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654DC5-44DF-480D-B7E0-3BF57F7E33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6737E54-9533-43A0-8ABB-1D80BE6C85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3F8E6D-4BE7-454E-8ECD-29CA4F0A40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788FEA-D922-4E65-B3F7-27E79A97CB9B}" type="datetimeFigureOut">
              <a:rPr lang="en-US" smtClean="0"/>
              <a:t>11/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82605C-6E3D-48B6-9B2B-7E798CA6D8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57A997-DFB8-43D0-B6F9-E8D10FFDE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AFB326-B575-4D7A-916A-F86394B93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59506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BA910-8CE0-4F97-A99E-5CC491AABA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730" y="136526"/>
            <a:ext cx="11784495" cy="857388"/>
          </a:xfrm>
        </p:spPr>
        <p:txBody>
          <a:bodyPr>
            <a:normAutofit/>
          </a:bodyPr>
          <a:lstStyle>
            <a:lvl1pPr>
              <a:defRPr sz="3600" b="1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EAD634-F774-4146-AC16-70E15BD1D5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1729" y="1499463"/>
            <a:ext cx="11784495" cy="435133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A5A8F4-E547-4ED8-BC8C-B928C83D7C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788FEA-D922-4E65-B3F7-27E79A97CB9B}" type="datetimeFigureOut">
              <a:rPr lang="en-US" smtClean="0"/>
              <a:t>11/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9A2C86-0F44-4076-8730-240B3CA9D1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741E3D-5AA9-4186-AA66-848E0285E8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AFB326-B575-4D7A-916A-F86394B93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74079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2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" name="Google Shape;290;p4"/>
          <p:cNvSpPr txBox="1">
            <a:spLocks noGrp="1"/>
          </p:cNvSpPr>
          <p:nvPr>
            <p:ph type="title"/>
          </p:nvPr>
        </p:nvSpPr>
        <p:spPr>
          <a:xfrm>
            <a:off x="677334" y="609600"/>
            <a:ext cx="8596800" cy="1320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Trebuchet MS"/>
              <a:buNone/>
              <a:defRPr sz="3600"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1" name="Google Shape;291;p4"/>
          <p:cNvSpPr txBox="1">
            <a:spLocks noGrp="1"/>
          </p:cNvSpPr>
          <p:nvPr>
            <p:ph type="body" idx="1"/>
          </p:nvPr>
        </p:nvSpPr>
        <p:spPr>
          <a:xfrm>
            <a:off x="677334" y="2160589"/>
            <a:ext cx="8596800" cy="388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1pPr>
            <a:lvl2pPr marL="914400" lvl="1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2pPr>
            <a:lvl3pPr marL="1371600" lvl="2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3pPr>
            <a:lvl4pPr marL="1828800" lvl="3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4pPr>
            <a:lvl5pPr marL="2286000" lvl="4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5pPr>
            <a:lvl6pPr marL="2743200" lvl="5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6pPr>
            <a:lvl7pPr marL="3200400" lvl="6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7pPr>
            <a:lvl8pPr marL="3657600" lvl="7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8pPr>
            <a:lvl9pPr marL="4114800" lvl="8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9pPr>
          </a:lstStyle>
          <a:p>
            <a:endParaRPr/>
          </a:p>
        </p:txBody>
      </p:sp>
      <p:sp>
        <p:nvSpPr>
          <p:cNvPr id="292" name="Google Shape;292;p4"/>
          <p:cNvSpPr txBox="1">
            <a:spLocks noGrp="1"/>
          </p:cNvSpPr>
          <p:nvPr>
            <p:ph type="dt" idx="10"/>
          </p:nvPr>
        </p:nvSpPr>
        <p:spPr>
          <a:xfrm>
            <a:off x="7205133" y="6041362"/>
            <a:ext cx="9120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3" name="Google Shape;293;p4"/>
          <p:cNvSpPr txBox="1">
            <a:spLocks noGrp="1"/>
          </p:cNvSpPr>
          <p:nvPr>
            <p:ph type="ftr" idx="11"/>
          </p:nvPr>
        </p:nvSpPr>
        <p:spPr>
          <a:xfrm>
            <a:off x="677334" y="6041362"/>
            <a:ext cx="62976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4" name="Google Shape;294;p4"/>
          <p:cNvSpPr txBox="1">
            <a:spLocks noGrp="1"/>
          </p:cNvSpPr>
          <p:nvPr>
            <p:ph type="sldNum" idx="12"/>
          </p:nvPr>
        </p:nvSpPr>
        <p:spPr>
          <a:xfrm>
            <a:off x="8590663" y="6041362"/>
            <a:ext cx="683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97D695-0A12-4930-A8A0-C48D8B4AA5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2B568E-B59D-4B9F-9752-D977F4D366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2E1FFB-CC52-4F5E-9FB7-D17CBCD413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788FEA-D922-4E65-B3F7-27E79A97CB9B}" type="datetimeFigureOut">
              <a:rPr lang="en-US" smtClean="0"/>
              <a:t>11/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79F7A6-ADF7-456D-AFA8-B082920EBD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A07FF8-4102-4C83-9221-B5534E6FDB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AFB326-B575-4D7A-916A-F86394B93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46742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FD3FF2-852E-4D1F-8DC3-8F7DF19E4B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30457D-CBA7-49E0-82C2-576295E03BA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2BEBFD8-88AA-4F52-BD9D-835A360A447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D6D9D0-E67F-41E1-9FC2-68696AF796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788FEA-D922-4E65-B3F7-27E79A97CB9B}" type="datetimeFigureOut">
              <a:rPr lang="en-US" smtClean="0"/>
              <a:t>11/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0A137AF-A182-4BCD-A8AE-5F48C0D2D4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0426DC-D81E-4409-A18C-799DE28FD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AFB326-B575-4D7A-916A-F86394B93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15537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85A636-AAAB-48A3-AFC0-00DA0E3034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58FEA6-FD3C-4DFA-90A7-3D6002FE8A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6266FB1-4F5C-4961-9124-42E9AB7ADE0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B9925E-AFF2-4795-BA16-4209349D40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CAA0067-5290-4B1B-85DC-0EBEBB091D3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4CC4C44-7F72-4C68-80AE-D1C25631EC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788FEA-D922-4E65-B3F7-27E79A97CB9B}" type="datetimeFigureOut">
              <a:rPr lang="en-US" smtClean="0"/>
              <a:t>11/3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739B7A9-00BB-4C9D-BC76-3AFDE1ED4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24B95F1-8498-46F1-80FA-E9E2B37B3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AFB326-B575-4D7A-916A-F86394B93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13977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720507-4AAB-422C-A431-5E1E73186B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46563E3-879E-4535-B264-B7E1164D68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788FEA-D922-4E65-B3F7-27E79A97CB9B}" type="datetimeFigureOut">
              <a:rPr lang="en-US" smtClean="0"/>
              <a:t>11/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1D09D9A-3B06-4F05-AFDB-BD84499407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E112FC-3CAC-4F3A-B918-49A583A7CD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AFB326-B575-4D7A-916A-F86394B93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82060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66B6A8E-E136-41C1-B796-0F2942A66F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788FEA-D922-4E65-B3F7-27E79A97CB9B}" type="datetimeFigureOut">
              <a:rPr lang="en-US" smtClean="0"/>
              <a:t>11/3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47F1B51-DE3D-4B1C-9ACE-2F9603EF89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B6C755-BC11-4DA8-8B2B-E6E6092CD5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AFB326-B575-4D7A-916A-F86394B93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324407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9DD4AD-5F6F-4AC5-8CDA-062C0B955F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463286-88D2-4B9B-9639-A1FA4F988D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6E571C-D016-4B88-8ED9-B95B9A99F13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EB47ABC-7C4B-465D-931E-D159B1F63B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788FEA-D922-4E65-B3F7-27E79A97CB9B}" type="datetimeFigureOut">
              <a:rPr lang="en-US" smtClean="0"/>
              <a:t>11/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4706B9-DDDC-42FE-9BCD-5115429DF9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0091D29-1AAB-40B8-907C-192FDCA12A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AFB326-B575-4D7A-916A-F86394B93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653082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4621D4-75F3-40B5-BAF8-367F5819E0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81854E9-E2BB-49A2-8968-1859FC655A8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EE0194-57BF-41D8-9A67-9FBF2D851D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7C84F37-5E49-42A9-B271-CFA28E77C7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788FEA-D922-4E65-B3F7-27E79A97CB9B}" type="datetimeFigureOut">
              <a:rPr lang="en-US" smtClean="0"/>
              <a:t>11/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E7DBAF9-A625-46F5-985A-9D5080C442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5BE885-2881-47B6-B95E-06FAF1CED0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AFB326-B575-4D7A-916A-F86394B93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29238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89D399-07E8-4805-914E-1E83922860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FFA19CD-B416-4E0C-9538-058AB689E9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F6EE7A-4C4B-4E0B-8218-E929437BEC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788FEA-D922-4E65-B3F7-27E79A97CB9B}" type="datetimeFigureOut">
              <a:rPr lang="en-US" smtClean="0"/>
              <a:t>11/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1D2EFF-C968-456B-B64F-51675E531D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0A6273-549C-40AA-970C-0B17FC14C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AFB326-B575-4D7A-916A-F86394B93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89284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CDB2CF8-5FD2-4F93-B3E5-D9C3CB763D6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E99DF07-32B0-4EBB-9620-4FB24B7D7B7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3C8E49-9181-40B1-98A5-8E3EF5AA39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788FEA-D922-4E65-B3F7-27E79A97CB9B}" type="datetimeFigureOut">
              <a:rPr lang="en-US" smtClean="0"/>
              <a:t>11/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2863CE-F42C-4D8A-9A10-DBDA6A0B89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EFB28A-8C40-444D-9868-BCC6ED8B19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AFB326-B575-4D7A-916A-F86394B93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08580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Google Shape;296;p5"/>
          <p:cNvSpPr txBox="1">
            <a:spLocks noGrp="1"/>
          </p:cNvSpPr>
          <p:nvPr>
            <p:ph type="title"/>
          </p:nvPr>
        </p:nvSpPr>
        <p:spPr>
          <a:xfrm>
            <a:off x="677335" y="2700867"/>
            <a:ext cx="8596800" cy="182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Trebuchet MS"/>
              <a:buNone/>
              <a:defRPr sz="4000" b="0" cap="none"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7" name="Google Shape;297;p5"/>
          <p:cNvSpPr txBox="1">
            <a:spLocks noGrp="1"/>
          </p:cNvSpPr>
          <p:nvPr>
            <p:ph type="body" idx="1"/>
          </p:nvPr>
        </p:nvSpPr>
        <p:spPr>
          <a:xfrm>
            <a:off x="677335" y="4527448"/>
            <a:ext cx="8596800" cy="86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 rtl="0">
              <a:spcBef>
                <a:spcPts val="1000"/>
              </a:spcBef>
              <a:spcAft>
                <a:spcPts val="0"/>
              </a:spcAft>
              <a:buSzPts val="1600"/>
              <a:buNone/>
              <a:defRPr sz="2000">
                <a:solidFill>
                  <a:srgbClr val="7F7F7F"/>
                </a:solidFill>
              </a:defRPr>
            </a:lvl1pPr>
            <a:lvl2pPr marL="914400" lvl="1" indent="-228600" algn="l" rtl="0">
              <a:spcBef>
                <a:spcPts val="1000"/>
              </a:spcBef>
              <a:spcAft>
                <a:spcPts val="0"/>
              </a:spcAft>
              <a:buSzPts val="1440"/>
              <a:buNone/>
              <a:defRPr sz="1800">
                <a:solidFill>
                  <a:srgbClr val="888888"/>
                </a:solidFill>
              </a:defRPr>
            </a:lvl2pPr>
            <a:lvl3pPr marL="1371600" lvl="2" indent="-228600" algn="l" rtl="0">
              <a:spcBef>
                <a:spcPts val="1000"/>
              </a:spcBef>
              <a:spcAft>
                <a:spcPts val="0"/>
              </a:spcAft>
              <a:buSzPts val="1280"/>
              <a:buNone/>
              <a:defRPr sz="1600">
                <a:solidFill>
                  <a:srgbClr val="888888"/>
                </a:solidFill>
              </a:defRPr>
            </a:lvl3pPr>
            <a:lvl4pPr marL="1828800" lvl="3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4pPr>
            <a:lvl5pPr marL="2286000" lvl="4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5pPr>
            <a:lvl6pPr marL="2743200" lvl="5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6pPr>
            <a:lvl7pPr marL="3200400" lvl="6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7pPr>
            <a:lvl8pPr marL="3657600" lvl="7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8pPr>
            <a:lvl9pPr marL="4114800" lvl="8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98" name="Google Shape;298;p5"/>
          <p:cNvSpPr txBox="1">
            <a:spLocks noGrp="1"/>
          </p:cNvSpPr>
          <p:nvPr>
            <p:ph type="dt" idx="10"/>
          </p:nvPr>
        </p:nvSpPr>
        <p:spPr>
          <a:xfrm>
            <a:off x="7205133" y="6041362"/>
            <a:ext cx="9120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9" name="Google Shape;299;p5"/>
          <p:cNvSpPr txBox="1">
            <a:spLocks noGrp="1"/>
          </p:cNvSpPr>
          <p:nvPr>
            <p:ph type="ftr" idx="11"/>
          </p:nvPr>
        </p:nvSpPr>
        <p:spPr>
          <a:xfrm>
            <a:off x="677334" y="6041362"/>
            <a:ext cx="62976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0" name="Google Shape;300;p5"/>
          <p:cNvSpPr txBox="1">
            <a:spLocks noGrp="1"/>
          </p:cNvSpPr>
          <p:nvPr>
            <p:ph type="sldNum" idx="12"/>
          </p:nvPr>
        </p:nvSpPr>
        <p:spPr>
          <a:xfrm>
            <a:off x="8590663" y="6041362"/>
            <a:ext cx="683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" name="Google Shape;302;p6"/>
          <p:cNvSpPr txBox="1">
            <a:spLocks noGrp="1"/>
          </p:cNvSpPr>
          <p:nvPr>
            <p:ph type="title"/>
          </p:nvPr>
        </p:nvSpPr>
        <p:spPr>
          <a:xfrm>
            <a:off x="677334" y="609600"/>
            <a:ext cx="8596800" cy="1320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3" name="Google Shape;303;p6"/>
          <p:cNvSpPr txBox="1">
            <a:spLocks noGrp="1"/>
          </p:cNvSpPr>
          <p:nvPr>
            <p:ph type="body" idx="1"/>
          </p:nvPr>
        </p:nvSpPr>
        <p:spPr>
          <a:xfrm>
            <a:off x="677334" y="2160589"/>
            <a:ext cx="4184100" cy="388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1pPr>
            <a:lvl2pPr marL="914400" lvl="1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2pPr>
            <a:lvl3pPr marL="1371600" lvl="2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3pPr>
            <a:lvl4pPr marL="1828800" lvl="3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4pPr>
            <a:lvl5pPr marL="2286000" lvl="4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5pPr>
            <a:lvl6pPr marL="2743200" lvl="5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6pPr>
            <a:lvl7pPr marL="3200400" lvl="6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7pPr>
            <a:lvl8pPr marL="3657600" lvl="7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8pPr>
            <a:lvl9pPr marL="4114800" lvl="8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9pPr>
          </a:lstStyle>
          <a:p>
            <a:endParaRPr/>
          </a:p>
        </p:txBody>
      </p:sp>
      <p:sp>
        <p:nvSpPr>
          <p:cNvPr id="304" name="Google Shape;304;p6"/>
          <p:cNvSpPr txBox="1">
            <a:spLocks noGrp="1"/>
          </p:cNvSpPr>
          <p:nvPr>
            <p:ph type="body" idx="2"/>
          </p:nvPr>
        </p:nvSpPr>
        <p:spPr>
          <a:xfrm>
            <a:off x="5089970" y="2160589"/>
            <a:ext cx="4184100" cy="388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1pPr>
            <a:lvl2pPr marL="914400" lvl="1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2pPr>
            <a:lvl3pPr marL="1371600" lvl="2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3pPr>
            <a:lvl4pPr marL="1828800" lvl="3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4pPr>
            <a:lvl5pPr marL="2286000" lvl="4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5pPr>
            <a:lvl6pPr marL="2743200" lvl="5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6pPr>
            <a:lvl7pPr marL="3200400" lvl="6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7pPr>
            <a:lvl8pPr marL="3657600" lvl="7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8pPr>
            <a:lvl9pPr marL="4114800" lvl="8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9pPr>
          </a:lstStyle>
          <a:p>
            <a:endParaRPr/>
          </a:p>
        </p:txBody>
      </p:sp>
      <p:sp>
        <p:nvSpPr>
          <p:cNvPr id="305" name="Google Shape;305;p6"/>
          <p:cNvSpPr txBox="1">
            <a:spLocks noGrp="1"/>
          </p:cNvSpPr>
          <p:nvPr>
            <p:ph type="dt" idx="10"/>
          </p:nvPr>
        </p:nvSpPr>
        <p:spPr>
          <a:xfrm>
            <a:off x="7205133" y="6041362"/>
            <a:ext cx="9120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6" name="Google Shape;306;p6"/>
          <p:cNvSpPr txBox="1">
            <a:spLocks noGrp="1"/>
          </p:cNvSpPr>
          <p:nvPr>
            <p:ph type="ftr" idx="11"/>
          </p:nvPr>
        </p:nvSpPr>
        <p:spPr>
          <a:xfrm>
            <a:off x="677334" y="6041362"/>
            <a:ext cx="62976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7" name="Google Shape;307;p6"/>
          <p:cNvSpPr txBox="1">
            <a:spLocks noGrp="1"/>
          </p:cNvSpPr>
          <p:nvPr>
            <p:ph type="sldNum" idx="12"/>
          </p:nvPr>
        </p:nvSpPr>
        <p:spPr>
          <a:xfrm>
            <a:off x="8590663" y="6041362"/>
            <a:ext cx="683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Google Shape;309;p7"/>
          <p:cNvSpPr txBox="1">
            <a:spLocks noGrp="1"/>
          </p:cNvSpPr>
          <p:nvPr>
            <p:ph type="title"/>
          </p:nvPr>
        </p:nvSpPr>
        <p:spPr>
          <a:xfrm>
            <a:off x="677334" y="609600"/>
            <a:ext cx="8596800" cy="1320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Trebuchet MS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0" name="Google Shape;310;p7"/>
          <p:cNvSpPr txBox="1">
            <a:spLocks noGrp="1"/>
          </p:cNvSpPr>
          <p:nvPr>
            <p:ph type="body" idx="1"/>
          </p:nvPr>
        </p:nvSpPr>
        <p:spPr>
          <a:xfrm>
            <a:off x="675745" y="2160983"/>
            <a:ext cx="4185600" cy="57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 rtl="0">
              <a:spcBef>
                <a:spcPts val="1000"/>
              </a:spcBef>
              <a:spcAft>
                <a:spcPts val="0"/>
              </a:spcAft>
              <a:buSzPts val="1920"/>
              <a:buNone/>
              <a:defRPr sz="2400" b="0"/>
            </a:lvl1pPr>
            <a:lvl2pPr marL="914400" lvl="1" indent="-228600" algn="l" rtl="0">
              <a:spcBef>
                <a:spcPts val="1000"/>
              </a:spcBef>
              <a:spcAft>
                <a:spcPts val="0"/>
              </a:spcAft>
              <a:buSzPts val="1600"/>
              <a:buNone/>
              <a:defRPr sz="2000" b="1"/>
            </a:lvl2pPr>
            <a:lvl3pPr marL="1371600" lvl="2" indent="-228600" algn="l" rtl="0">
              <a:spcBef>
                <a:spcPts val="1000"/>
              </a:spcBef>
              <a:spcAft>
                <a:spcPts val="0"/>
              </a:spcAft>
              <a:buSzPts val="1440"/>
              <a:buNone/>
              <a:defRPr sz="1800" b="1"/>
            </a:lvl3pPr>
            <a:lvl4pPr marL="1828800" lvl="3" indent="-228600" algn="l" rtl="0">
              <a:spcBef>
                <a:spcPts val="1000"/>
              </a:spcBef>
              <a:spcAft>
                <a:spcPts val="0"/>
              </a:spcAft>
              <a:buSzPts val="1280"/>
              <a:buNone/>
              <a:defRPr sz="1600" b="1"/>
            </a:lvl4pPr>
            <a:lvl5pPr marL="2286000" lvl="4" indent="-228600" algn="l" rtl="0">
              <a:spcBef>
                <a:spcPts val="1000"/>
              </a:spcBef>
              <a:spcAft>
                <a:spcPts val="0"/>
              </a:spcAft>
              <a:buSzPts val="1280"/>
              <a:buNone/>
              <a:defRPr sz="1600" b="1"/>
            </a:lvl5pPr>
            <a:lvl6pPr marL="2743200" lvl="5" indent="-228600" algn="l" rtl="0">
              <a:spcBef>
                <a:spcPts val="1000"/>
              </a:spcBef>
              <a:spcAft>
                <a:spcPts val="0"/>
              </a:spcAft>
              <a:buSzPts val="1280"/>
              <a:buNone/>
              <a:defRPr sz="1600" b="1"/>
            </a:lvl6pPr>
            <a:lvl7pPr marL="3200400" lvl="6" indent="-228600" algn="l" rtl="0">
              <a:spcBef>
                <a:spcPts val="1000"/>
              </a:spcBef>
              <a:spcAft>
                <a:spcPts val="0"/>
              </a:spcAft>
              <a:buSzPts val="1280"/>
              <a:buNone/>
              <a:defRPr sz="1600" b="1"/>
            </a:lvl7pPr>
            <a:lvl8pPr marL="3657600" lvl="7" indent="-228600" algn="l" rtl="0">
              <a:spcBef>
                <a:spcPts val="1000"/>
              </a:spcBef>
              <a:spcAft>
                <a:spcPts val="0"/>
              </a:spcAft>
              <a:buSzPts val="1280"/>
              <a:buNone/>
              <a:defRPr sz="1600" b="1"/>
            </a:lvl8pPr>
            <a:lvl9pPr marL="4114800" lvl="8" indent="-228600" algn="l" rtl="0">
              <a:spcBef>
                <a:spcPts val="1000"/>
              </a:spcBef>
              <a:spcAft>
                <a:spcPts val="0"/>
              </a:spcAft>
              <a:buSzPts val="1280"/>
              <a:buNone/>
              <a:defRPr sz="1600" b="1"/>
            </a:lvl9pPr>
          </a:lstStyle>
          <a:p>
            <a:endParaRPr/>
          </a:p>
        </p:txBody>
      </p:sp>
      <p:sp>
        <p:nvSpPr>
          <p:cNvPr id="311" name="Google Shape;311;p7"/>
          <p:cNvSpPr txBox="1">
            <a:spLocks noGrp="1"/>
          </p:cNvSpPr>
          <p:nvPr>
            <p:ph type="body" idx="2"/>
          </p:nvPr>
        </p:nvSpPr>
        <p:spPr>
          <a:xfrm>
            <a:off x="675745" y="2737245"/>
            <a:ext cx="4185600" cy="330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1pPr>
            <a:lvl2pPr marL="914400" lvl="1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2pPr>
            <a:lvl3pPr marL="1371600" lvl="2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3pPr>
            <a:lvl4pPr marL="1828800" lvl="3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4pPr>
            <a:lvl5pPr marL="2286000" lvl="4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5pPr>
            <a:lvl6pPr marL="2743200" lvl="5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6pPr>
            <a:lvl7pPr marL="3200400" lvl="6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7pPr>
            <a:lvl8pPr marL="3657600" lvl="7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8pPr>
            <a:lvl9pPr marL="4114800" lvl="8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9pPr>
          </a:lstStyle>
          <a:p>
            <a:endParaRPr/>
          </a:p>
        </p:txBody>
      </p:sp>
      <p:sp>
        <p:nvSpPr>
          <p:cNvPr id="312" name="Google Shape;312;p7"/>
          <p:cNvSpPr txBox="1">
            <a:spLocks noGrp="1"/>
          </p:cNvSpPr>
          <p:nvPr>
            <p:ph type="body" idx="3"/>
          </p:nvPr>
        </p:nvSpPr>
        <p:spPr>
          <a:xfrm>
            <a:off x="5088383" y="2160983"/>
            <a:ext cx="4185600" cy="57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 rtl="0">
              <a:spcBef>
                <a:spcPts val="1000"/>
              </a:spcBef>
              <a:spcAft>
                <a:spcPts val="0"/>
              </a:spcAft>
              <a:buSzPts val="1920"/>
              <a:buNone/>
              <a:defRPr sz="2400" b="0"/>
            </a:lvl1pPr>
            <a:lvl2pPr marL="914400" lvl="1" indent="-228600" algn="l" rtl="0">
              <a:spcBef>
                <a:spcPts val="1000"/>
              </a:spcBef>
              <a:spcAft>
                <a:spcPts val="0"/>
              </a:spcAft>
              <a:buSzPts val="1600"/>
              <a:buNone/>
              <a:defRPr sz="2000" b="1"/>
            </a:lvl2pPr>
            <a:lvl3pPr marL="1371600" lvl="2" indent="-228600" algn="l" rtl="0">
              <a:spcBef>
                <a:spcPts val="1000"/>
              </a:spcBef>
              <a:spcAft>
                <a:spcPts val="0"/>
              </a:spcAft>
              <a:buSzPts val="1440"/>
              <a:buNone/>
              <a:defRPr sz="1800" b="1"/>
            </a:lvl3pPr>
            <a:lvl4pPr marL="1828800" lvl="3" indent="-228600" algn="l" rtl="0">
              <a:spcBef>
                <a:spcPts val="1000"/>
              </a:spcBef>
              <a:spcAft>
                <a:spcPts val="0"/>
              </a:spcAft>
              <a:buSzPts val="1280"/>
              <a:buNone/>
              <a:defRPr sz="1600" b="1"/>
            </a:lvl4pPr>
            <a:lvl5pPr marL="2286000" lvl="4" indent="-228600" algn="l" rtl="0">
              <a:spcBef>
                <a:spcPts val="1000"/>
              </a:spcBef>
              <a:spcAft>
                <a:spcPts val="0"/>
              </a:spcAft>
              <a:buSzPts val="1280"/>
              <a:buNone/>
              <a:defRPr sz="1600" b="1"/>
            </a:lvl5pPr>
            <a:lvl6pPr marL="2743200" lvl="5" indent="-228600" algn="l" rtl="0">
              <a:spcBef>
                <a:spcPts val="1000"/>
              </a:spcBef>
              <a:spcAft>
                <a:spcPts val="0"/>
              </a:spcAft>
              <a:buSzPts val="1280"/>
              <a:buNone/>
              <a:defRPr sz="1600" b="1"/>
            </a:lvl6pPr>
            <a:lvl7pPr marL="3200400" lvl="6" indent="-228600" algn="l" rtl="0">
              <a:spcBef>
                <a:spcPts val="1000"/>
              </a:spcBef>
              <a:spcAft>
                <a:spcPts val="0"/>
              </a:spcAft>
              <a:buSzPts val="1280"/>
              <a:buNone/>
              <a:defRPr sz="1600" b="1"/>
            </a:lvl7pPr>
            <a:lvl8pPr marL="3657600" lvl="7" indent="-228600" algn="l" rtl="0">
              <a:spcBef>
                <a:spcPts val="1000"/>
              </a:spcBef>
              <a:spcAft>
                <a:spcPts val="0"/>
              </a:spcAft>
              <a:buSzPts val="1280"/>
              <a:buNone/>
              <a:defRPr sz="1600" b="1"/>
            </a:lvl8pPr>
            <a:lvl9pPr marL="4114800" lvl="8" indent="-228600" algn="l" rtl="0">
              <a:spcBef>
                <a:spcPts val="1000"/>
              </a:spcBef>
              <a:spcAft>
                <a:spcPts val="0"/>
              </a:spcAft>
              <a:buSzPts val="1280"/>
              <a:buNone/>
              <a:defRPr sz="1600" b="1"/>
            </a:lvl9pPr>
          </a:lstStyle>
          <a:p>
            <a:endParaRPr/>
          </a:p>
        </p:txBody>
      </p:sp>
      <p:sp>
        <p:nvSpPr>
          <p:cNvPr id="313" name="Google Shape;313;p7"/>
          <p:cNvSpPr txBox="1">
            <a:spLocks noGrp="1"/>
          </p:cNvSpPr>
          <p:nvPr>
            <p:ph type="body" idx="4"/>
          </p:nvPr>
        </p:nvSpPr>
        <p:spPr>
          <a:xfrm>
            <a:off x="5088384" y="2737245"/>
            <a:ext cx="4185600" cy="330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1pPr>
            <a:lvl2pPr marL="914400" lvl="1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2pPr>
            <a:lvl3pPr marL="1371600" lvl="2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3pPr>
            <a:lvl4pPr marL="1828800" lvl="3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4pPr>
            <a:lvl5pPr marL="2286000" lvl="4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5pPr>
            <a:lvl6pPr marL="2743200" lvl="5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6pPr>
            <a:lvl7pPr marL="3200400" lvl="6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7pPr>
            <a:lvl8pPr marL="3657600" lvl="7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8pPr>
            <a:lvl9pPr marL="4114800" lvl="8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9pPr>
          </a:lstStyle>
          <a:p>
            <a:endParaRPr/>
          </a:p>
        </p:txBody>
      </p:sp>
      <p:sp>
        <p:nvSpPr>
          <p:cNvPr id="314" name="Google Shape;314;p7"/>
          <p:cNvSpPr txBox="1">
            <a:spLocks noGrp="1"/>
          </p:cNvSpPr>
          <p:nvPr>
            <p:ph type="dt" idx="10"/>
          </p:nvPr>
        </p:nvSpPr>
        <p:spPr>
          <a:xfrm>
            <a:off x="7205133" y="6041362"/>
            <a:ext cx="9120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5" name="Google Shape;315;p7"/>
          <p:cNvSpPr txBox="1">
            <a:spLocks noGrp="1"/>
          </p:cNvSpPr>
          <p:nvPr>
            <p:ph type="ftr" idx="11"/>
          </p:nvPr>
        </p:nvSpPr>
        <p:spPr>
          <a:xfrm>
            <a:off x="677334" y="6041362"/>
            <a:ext cx="62976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6" name="Google Shape;316;p7"/>
          <p:cNvSpPr txBox="1">
            <a:spLocks noGrp="1"/>
          </p:cNvSpPr>
          <p:nvPr>
            <p:ph type="sldNum" idx="12"/>
          </p:nvPr>
        </p:nvSpPr>
        <p:spPr>
          <a:xfrm>
            <a:off x="8590663" y="6041362"/>
            <a:ext cx="683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3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" name="Google Shape;318;p8"/>
          <p:cNvSpPr txBox="1">
            <a:spLocks noGrp="1"/>
          </p:cNvSpPr>
          <p:nvPr>
            <p:ph type="title"/>
          </p:nvPr>
        </p:nvSpPr>
        <p:spPr>
          <a:xfrm>
            <a:off x="677334" y="609600"/>
            <a:ext cx="8596800" cy="1320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9" name="Google Shape;319;p8"/>
          <p:cNvSpPr txBox="1">
            <a:spLocks noGrp="1"/>
          </p:cNvSpPr>
          <p:nvPr>
            <p:ph type="dt" idx="10"/>
          </p:nvPr>
        </p:nvSpPr>
        <p:spPr>
          <a:xfrm>
            <a:off x="7205133" y="6041362"/>
            <a:ext cx="9120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0" name="Google Shape;320;p8"/>
          <p:cNvSpPr txBox="1">
            <a:spLocks noGrp="1"/>
          </p:cNvSpPr>
          <p:nvPr>
            <p:ph type="ftr" idx="11"/>
          </p:nvPr>
        </p:nvSpPr>
        <p:spPr>
          <a:xfrm>
            <a:off x="677334" y="6041362"/>
            <a:ext cx="62976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1" name="Google Shape;321;p8"/>
          <p:cNvSpPr txBox="1">
            <a:spLocks noGrp="1"/>
          </p:cNvSpPr>
          <p:nvPr>
            <p:ph type="sldNum" idx="12"/>
          </p:nvPr>
        </p:nvSpPr>
        <p:spPr>
          <a:xfrm>
            <a:off x="8590663" y="6041362"/>
            <a:ext cx="683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9"/>
          <p:cNvSpPr txBox="1">
            <a:spLocks noGrp="1"/>
          </p:cNvSpPr>
          <p:nvPr>
            <p:ph type="title"/>
          </p:nvPr>
        </p:nvSpPr>
        <p:spPr>
          <a:xfrm>
            <a:off x="677334" y="1498604"/>
            <a:ext cx="3854400" cy="12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Trebuchet MS"/>
              <a:buNone/>
              <a:defRPr sz="2000"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4" name="Google Shape;324;p9"/>
          <p:cNvSpPr txBox="1">
            <a:spLocks noGrp="1"/>
          </p:cNvSpPr>
          <p:nvPr>
            <p:ph type="body" idx="1"/>
          </p:nvPr>
        </p:nvSpPr>
        <p:spPr>
          <a:xfrm>
            <a:off x="4760461" y="514924"/>
            <a:ext cx="4513500" cy="552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1pPr>
            <a:lvl2pPr marL="914400" lvl="1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2pPr>
            <a:lvl3pPr marL="1371600" lvl="2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3pPr>
            <a:lvl4pPr marL="1828800" lvl="3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4pPr>
            <a:lvl5pPr marL="2286000" lvl="4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5pPr>
            <a:lvl6pPr marL="2743200" lvl="5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6pPr>
            <a:lvl7pPr marL="3200400" lvl="6" indent="-320039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7pPr>
            <a:lvl8pPr marL="3657600" lvl="7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8pPr>
            <a:lvl9pPr marL="4114800" lvl="8" indent="-320040" algn="l" rtl="0">
              <a:spcBef>
                <a:spcPts val="1000"/>
              </a:spcBef>
              <a:spcAft>
                <a:spcPts val="0"/>
              </a:spcAft>
              <a:buSzPts val="1440"/>
              <a:buChar char="►"/>
              <a:defRPr/>
            </a:lvl9pPr>
          </a:lstStyle>
          <a:p>
            <a:endParaRPr/>
          </a:p>
        </p:txBody>
      </p:sp>
      <p:sp>
        <p:nvSpPr>
          <p:cNvPr id="325" name="Google Shape;325;p9"/>
          <p:cNvSpPr txBox="1">
            <a:spLocks noGrp="1"/>
          </p:cNvSpPr>
          <p:nvPr>
            <p:ph type="body" idx="2"/>
          </p:nvPr>
        </p:nvSpPr>
        <p:spPr>
          <a:xfrm>
            <a:off x="677334" y="2777069"/>
            <a:ext cx="3854400" cy="258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/>
            </a:lvl1pPr>
            <a:lvl2pPr marL="914400" lvl="1" indent="-228600" algn="l" rtl="0">
              <a:spcBef>
                <a:spcPts val="1000"/>
              </a:spcBef>
              <a:spcAft>
                <a:spcPts val="0"/>
              </a:spcAft>
              <a:buSzPts val="1120"/>
              <a:buNone/>
              <a:defRPr sz="1400"/>
            </a:lvl2pPr>
            <a:lvl3pPr marL="1371600" lvl="2" indent="-228600" algn="l" rtl="0">
              <a:spcBef>
                <a:spcPts val="1000"/>
              </a:spcBef>
              <a:spcAft>
                <a:spcPts val="0"/>
              </a:spcAft>
              <a:buSzPts val="960"/>
              <a:buNone/>
              <a:defRPr sz="1200"/>
            </a:lvl3pPr>
            <a:lvl4pPr marL="1828800" lvl="3" indent="-228600" algn="l" rtl="0">
              <a:spcBef>
                <a:spcPts val="1000"/>
              </a:spcBef>
              <a:spcAft>
                <a:spcPts val="0"/>
              </a:spcAft>
              <a:buSzPts val="800"/>
              <a:buNone/>
              <a:defRPr sz="1000"/>
            </a:lvl4pPr>
            <a:lvl5pPr marL="2286000" lvl="4" indent="-228600" algn="l" rtl="0">
              <a:spcBef>
                <a:spcPts val="1000"/>
              </a:spcBef>
              <a:spcAft>
                <a:spcPts val="0"/>
              </a:spcAft>
              <a:buSzPts val="800"/>
              <a:buNone/>
              <a:defRPr sz="1000"/>
            </a:lvl5pPr>
            <a:lvl6pPr marL="2743200" lvl="5" indent="-228600" algn="l" rtl="0">
              <a:spcBef>
                <a:spcPts val="1000"/>
              </a:spcBef>
              <a:spcAft>
                <a:spcPts val="0"/>
              </a:spcAft>
              <a:buSzPts val="800"/>
              <a:buNone/>
              <a:defRPr sz="1000"/>
            </a:lvl6pPr>
            <a:lvl7pPr marL="3200400" lvl="6" indent="-228600" algn="l" rtl="0">
              <a:spcBef>
                <a:spcPts val="1000"/>
              </a:spcBef>
              <a:spcAft>
                <a:spcPts val="0"/>
              </a:spcAft>
              <a:buSzPts val="800"/>
              <a:buNone/>
              <a:defRPr sz="1000"/>
            </a:lvl7pPr>
            <a:lvl8pPr marL="3657600" lvl="7" indent="-228600" algn="l" rtl="0">
              <a:spcBef>
                <a:spcPts val="1000"/>
              </a:spcBef>
              <a:spcAft>
                <a:spcPts val="0"/>
              </a:spcAft>
              <a:buSzPts val="800"/>
              <a:buNone/>
              <a:defRPr sz="1000"/>
            </a:lvl8pPr>
            <a:lvl9pPr marL="4114800" lvl="8" indent="-228600" algn="l" rtl="0">
              <a:spcBef>
                <a:spcPts val="1000"/>
              </a:spcBef>
              <a:spcAft>
                <a:spcPts val="0"/>
              </a:spcAft>
              <a:buSzPts val="800"/>
              <a:buNone/>
              <a:defRPr sz="1000"/>
            </a:lvl9pPr>
          </a:lstStyle>
          <a:p>
            <a:endParaRPr/>
          </a:p>
        </p:txBody>
      </p:sp>
      <p:sp>
        <p:nvSpPr>
          <p:cNvPr id="326" name="Google Shape;326;p9"/>
          <p:cNvSpPr txBox="1">
            <a:spLocks noGrp="1"/>
          </p:cNvSpPr>
          <p:nvPr>
            <p:ph type="dt" idx="10"/>
          </p:nvPr>
        </p:nvSpPr>
        <p:spPr>
          <a:xfrm>
            <a:off x="7205133" y="6041362"/>
            <a:ext cx="9120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7" name="Google Shape;327;p9"/>
          <p:cNvSpPr txBox="1">
            <a:spLocks noGrp="1"/>
          </p:cNvSpPr>
          <p:nvPr>
            <p:ph type="ftr" idx="11"/>
          </p:nvPr>
        </p:nvSpPr>
        <p:spPr>
          <a:xfrm>
            <a:off x="677334" y="6041362"/>
            <a:ext cx="62976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8" name="Google Shape;328;p9"/>
          <p:cNvSpPr txBox="1">
            <a:spLocks noGrp="1"/>
          </p:cNvSpPr>
          <p:nvPr>
            <p:ph type="sldNum" idx="12"/>
          </p:nvPr>
        </p:nvSpPr>
        <p:spPr>
          <a:xfrm>
            <a:off x="8590663" y="6041362"/>
            <a:ext cx="683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_WITH_CAPTION_TEXT">
    <p:spTree>
      <p:nvGrpSpPr>
        <p:cNvPr id="1" name="Shape 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10"/>
          <p:cNvSpPr txBox="1">
            <a:spLocks noGrp="1"/>
          </p:cNvSpPr>
          <p:nvPr>
            <p:ph type="title"/>
          </p:nvPr>
        </p:nvSpPr>
        <p:spPr>
          <a:xfrm>
            <a:off x="677334" y="4800600"/>
            <a:ext cx="8596800" cy="56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Trebuchet MS"/>
              <a:buNone/>
              <a:defRPr sz="2400" b="0"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1" name="Google Shape;331;p10"/>
          <p:cNvSpPr>
            <a:spLocks noGrp="1"/>
          </p:cNvSpPr>
          <p:nvPr>
            <p:ph type="pic" idx="2"/>
          </p:nvPr>
        </p:nvSpPr>
        <p:spPr>
          <a:xfrm>
            <a:off x="677334" y="609600"/>
            <a:ext cx="8596800" cy="3845700"/>
          </a:xfrm>
          <a:prstGeom prst="rect">
            <a:avLst/>
          </a:prstGeom>
          <a:noFill/>
          <a:ln>
            <a:noFill/>
          </a:ln>
        </p:spPr>
      </p:sp>
      <p:sp>
        <p:nvSpPr>
          <p:cNvPr id="332" name="Google Shape;332;p10"/>
          <p:cNvSpPr txBox="1">
            <a:spLocks noGrp="1"/>
          </p:cNvSpPr>
          <p:nvPr>
            <p:ph type="body" idx="1"/>
          </p:nvPr>
        </p:nvSpPr>
        <p:spPr>
          <a:xfrm>
            <a:off x="677334" y="5367338"/>
            <a:ext cx="8596800" cy="67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 rtl="0">
              <a:spcBef>
                <a:spcPts val="1000"/>
              </a:spcBef>
              <a:spcAft>
                <a:spcPts val="0"/>
              </a:spcAft>
              <a:buSzPts val="960"/>
              <a:buNone/>
              <a:defRPr sz="1200"/>
            </a:lvl1pPr>
            <a:lvl2pPr marL="914400" lvl="1" indent="-228600" algn="l" rtl="0">
              <a:spcBef>
                <a:spcPts val="1000"/>
              </a:spcBef>
              <a:spcAft>
                <a:spcPts val="0"/>
              </a:spcAft>
              <a:buSzPts val="960"/>
              <a:buNone/>
              <a:defRPr sz="1200"/>
            </a:lvl2pPr>
            <a:lvl3pPr marL="1371600" lvl="2" indent="-228600" algn="l" rtl="0">
              <a:spcBef>
                <a:spcPts val="1000"/>
              </a:spcBef>
              <a:spcAft>
                <a:spcPts val="0"/>
              </a:spcAft>
              <a:buSzPts val="800"/>
              <a:buNone/>
              <a:defRPr sz="1000"/>
            </a:lvl3pPr>
            <a:lvl4pPr marL="1828800" lvl="3" indent="-228600" algn="l" rtl="0">
              <a:spcBef>
                <a:spcPts val="1000"/>
              </a:spcBef>
              <a:spcAft>
                <a:spcPts val="0"/>
              </a:spcAft>
              <a:buSzPts val="720"/>
              <a:buNone/>
              <a:defRPr sz="900"/>
            </a:lvl4pPr>
            <a:lvl5pPr marL="2286000" lvl="4" indent="-228600" algn="l" rtl="0">
              <a:spcBef>
                <a:spcPts val="1000"/>
              </a:spcBef>
              <a:spcAft>
                <a:spcPts val="0"/>
              </a:spcAft>
              <a:buSzPts val="720"/>
              <a:buNone/>
              <a:defRPr sz="900"/>
            </a:lvl5pPr>
            <a:lvl6pPr marL="2743200" lvl="5" indent="-228600" algn="l" rtl="0">
              <a:spcBef>
                <a:spcPts val="1000"/>
              </a:spcBef>
              <a:spcAft>
                <a:spcPts val="0"/>
              </a:spcAft>
              <a:buSzPts val="720"/>
              <a:buNone/>
              <a:defRPr sz="900"/>
            </a:lvl6pPr>
            <a:lvl7pPr marL="3200400" lvl="6" indent="-228600" algn="l" rtl="0">
              <a:spcBef>
                <a:spcPts val="1000"/>
              </a:spcBef>
              <a:spcAft>
                <a:spcPts val="0"/>
              </a:spcAft>
              <a:buSzPts val="720"/>
              <a:buNone/>
              <a:defRPr sz="900"/>
            </a:lvl7pPr>
            <a:lvl8pPr marL="3657600" lvl="7" indent="-228600" algn="l" rtl="0">
              <a:spcBef>
                <a:spcPts val="1000"/>
              </a:spcBef>
              <a:spcAft>
                <a:spcPts val="0"/>
              </a:spcAft>
              <a:buSzPts val="720"/>
              <a:buNone/>
              <a:defRPr sz="900"/>
            </a:lvl8pPr>
            <a:lvl9pPr marL="4114800" lvl="8" indent="-228600" algn="l" rtl="0">
              <a:spcBef>
                <a:spcPts val="1000"/>
              </a:spcBef>
              <a:spcAft>
                <a:spcPts val="0"/>
              </a:spcAft>
              <a:buSzPts val="720"/>
              <a:buNone/>
              <a:defRPr sz="900"/>
            </a:lvl9pPr>
          </a:lstStyle>
          <a:p>
            <a:endParaRPr/>
          </a:p>
        </p:txBody>
      </p:sp>
      <p:sp>
        <p:nvSpPr>
          <p:cNvPr id="333" name="Google Shape;333;p10"/>
          <p:cNvSpPr txBox="1">
            <a:spLocks noGrp="1"/>
          </p:cNvSpPr>
          <p:nvPr>
            <p:ph type="dt" idx="10"/>
          </p:nvPr>
        </p:nvSpPr>
        <p:spPr>
          <a:xfrm>
            <a:off x="7205133" y="6041362"/>
            <a:ext cx="9120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4" name="Google Shape;334;p10"/>
          <p:cNvSpPr txBox="1">
            <a:spLocks noGrp="1"/>
          </p:cNvSpPr>
          <p:nvPr>
            <p:ph type="ftr" idx="11"/>
          </p:nvPr>
        </p:nvSpPr>
        <p:spPr>
          <a:xfrm>
            <a:off x="677334" y="6041362"/>
            <a:ext cx="62976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5" name="Google Shape;335;p10"/>
          <p:cNvSpPr txBox="1">
            <a:spLocks noGrp="1"/>
          </p:cNvSpPr>
          <p:nvPr>
            <p:ph type="sldNum" idx="12"/>
          </p:nvPr>
        </p:nvSpPr>
        <p:spPr>
          <a:xfrm>
            <a:off x="8590663" y="6041362"/>
            <a:ext cx="683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2" name="Google Shape;252;p1"/>
          <p:cNvGrpSpPr/>
          <p:nvPr/>
        </p:nvGrpSpPr>
        <p:grpSpPr>
          <a:xfrm>
            <a:off x="0" y="-8467"/>
            <a:ext cx="12192133" cy="6866580"/>
            <a:chOff x="0" y="-8467"/>
            <a:chExt cx="12192133" cy="6866580"/>
          </a:xfrm>
        </p:grpSpPr>
        <p:cxnSp>
          <p:nvCxnSpPr>
            <p:cNvPr id="253" name="Google Shape;253;p1"/>
            <p:cNvCxnSpPr/>
            <p:nvPr/>
          </p:nvCxnSpPr>
          <p:spPr>
            <a:xfrm>
              <a:off x="9371012" y="0"/>
              <a:ext cx="1219200" cy="6858000"/>
            </a:xfrm>
            <a:prstGeom prst="straightConnector1">
              <a:avLst/>
            </a:prstGeom>
            <a:noFill/>
            <a:ln w="9525" cap="flat" cmpd="sng">
              <a:solidFill>
                <a:srgbClr val="BFBFBF"/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254" name="Google Shape;254;p1"/>
            <p:cNvCxnSpPr/>
            <p:nvPr/>
          </p:nvCxnSpPr>
          <p:spPr>
            <a:xfrm flipH="1">
              <a:off x="7425125" y="3681413"/>
              <a:ext cx="4763700" cy="3176700"/>
            </a:xfrm>
            <a:prstGeom prst="straightConnector1">
              <a:avLst/>
            </a:prstGeom>
            <a:noFill/>
            <a:ln w="9525" cap="flat" cmpd="sng">
              <a:solidFill>
                <a:srgbClr val="D8D8D8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255" name="Google Shape;255;p1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 extrusionOk="0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29800"/>
              </a:schemeClr>
            </a:solidFill>
            <a:ln>
              <a:noFill/>
            </a:ln>
          </p:spPr>
        </p:sp>
        <p:sp>
          <p:nvSpPr>
            <p:cNvPr id="256" name="Google Shape;256;p1"/>
            <p:cNvSpPr/>
            <p:nvPr/>
          </p:nvSpPr>
          <p:spPr>
            <a:xfrm>
              <a:off x="9603442" y="-8467"/>
              <a:ext cx="258617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 extrusionOk="0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</p:spPr>
        </p:sp>
        <p:sp>
          <p:nvSpPr>
            <p:cNvPr id="257" name="Google Shape;257;p1"/>
            <p:cNvSpPr/>
            <p:nvPr/>
          </p:nvSpPr>
          <p:spPr>
            <a:xfrm>
              <a:off x="8932333" y="3048000"/>
              <a:ext cx="3259800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176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" name="Google Shape;258;p1"/>
            <p:cNvSpPr/>
            <p:nvPr/>
          </p:nvSpPr>
          <p:spPr>
            <a:xfrm>
              <a:off x="9334500" y="-8467"/>
              <a:ext cx="2850868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 extrusionOk="0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F7818">
                <a:alpha val="69800"/>
              </a:srgbClr>
            </a:solidFill>
            <a:ln>
              <a:noFill/>
            </a:ln>
          </p:spPr>
        </p:sp>
        <p:sp>
          <p:nvSpPr>
            <p:cNvPr id="259" name="Google Shape;259;p1"/>
            <p:cNvSpPr/>
            <p:nvPr/>
          </p:nvSpPr>
          <p:spPr>
            <a:xfrm>
              <a:off x="10898730" y="-8467"/>
              <a:ext cx="1290094" cy="6858000"/>
            </a:xfrm>
            <a:custGeom>
              <a:avLst/>
              <a:gdLst/>
              <a:ahLst/>
              <a:cxnLst/>
              <a:rect l="l" t="t" r="r" b="b"/>
              <a:pathLst>
                <a:path w="1290094" h="6858000" extrusionOk="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rgbClr val="BFE471">
                <a:alpha val="69800"/>
              </a:srgbClr>
            </a:solidFill>
            <a:ln>
              <a:noFill/>
            </a:ln>
          </p:spPr>
        </p:sp>
        <p:sp>
          <p:nvSpPr>
            <p:cNvPr id="260" name="Google Shape;260;p1"/>
            <p:cNvSpPr/>
            <p:nvPr/>
          </p:nvSpPr>
          <p:spPr>
            <a:xfrm>
              <a:off x="10938999" y="-8467"/>
              <a:ext cx="1249825" cy="6858000"/>
            </a:xfrm>
            <a:custGeom>
              <a:avLst/>
              <a:gdLst/>
              <a:ahLst/>
              <a:cxnLst/>
              <a:rect l="l" t="t" r="r" b="b"/>
              <a:pathLst>
                <a:path w="1249825" h="6858000" extrusionOk="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4709"/>
              </a:schemeClr>
            </a:solidFill>
            <a:ln>
              <a:noFill/>
            </a:ln>
          </p:spPr>
        </p:sp>
        <p:sp>
          <p:nvSpPr>
            <p:cNvPr id="261" name="Google Shape;261;p1"/>
            <p:cNvSpPr/>
            <p:nvPr/>
          </p:nvSpPr>
          <p:spPr>
            <a:xfrm>
              <a:off x="10371666" y="3589867"/>
              <a:ext cx="1817100" cy="32682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" name="Google Shape;262;p1"/>
            <p:cNvSpPr/>
            <p:nvPr/>
          </p:nvSpPr>
          <p:spPr>
            <a:xfrm>
              <a:off x="0" y="4013200"/>
              <a:ext cx="448800" cy="28449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471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63" name="Google Shape;263;p1"/>
          <p:cNvSpPr txBox="1">
            <a:spLocks noGrp="1"/>
          </p:cNvSpPr>
          <p:nvPr>
            <p:ph type="title"/>
          </p:nvPr>
        </p:nvSpPr>
        <p:spPr>
          <a:xfrm>
            <a:off x="677334" y="609600"/>
            <a:ext cx="8596800" cy="1320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Trebuchet MS"/>
              <a:buNone/>
              <a:defRPr sz="3600" b="0" i="0" u="none" strike="noStrike" cap="none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2"/>
                </a:solidFill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2"/>
                </a:solidFill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2"/>
                </a:solidFill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2"/>
                </a:solidFill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2"/>
                </a:solidFill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2"/>
                </a:solidFill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2"/>
                </a:solidFill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264" name="Google Shape;264;p1"/>
          <p:cNvSpPr txBox="1">
            <a:spLocks noGrp="1"/>
          </p:cNvSpPr>
          <p:nvPr>
            <p:ph type="body" idx="1"/>
          </p:nvPr>
        </p:nvSpPr>
        <p:spPr>
          <a:xfrm>
            <a:off x="677334" y="2160589"/>
            <a:ext cx="8596800" cy="388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20040" algn="l" rtl="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440"/>
              <a:buFont typeface="Noto Sans Symbols"/>
              <a:buChar char="►"/>
              <a:defRPr sz="1800" b="0" i="0" u="none" strike="noStrike" cap="none">
                <a:solidFill>
                  <a:srgbClr val="3F3F3F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marR="0" lvl="1" indent="-309880" algn="l" rtl="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280"/>
              <a:buFont typeface="Noto Sans Symbols"/>
              <a:buChar char="►"/>
              <a:defRPr sz="1600" b="0" i="0" u="none" strike="noStrike" cap="none">
                <a:solidFill>
                  <a:srgbClr val="3F3F3F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71600" marR="0" lvl="2" indent="-299719" algn="l" rtl="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120"/>
              <a:buFont typeface="Noto Sans Symbols"/>
              <a:buChar char="►"/>
              <a:defRPr sz="1400" b="0" i="0" u="none" strike="noStrike" cap="none">
                <a:solidFill>
                  <a:srgbClr val="3F3F3F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28800" marR="0" lvl="3" indent="-289560" algn="l" rtl="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960"/>
              <a:buFont typeface="Noto Sans Symbols"/>
              <a:buChar char="►"/>
              <a:defRPr sz="1200" b="0" i="0" u="none" strike="noStrike" cap="none">
                <a:solidFill>
                  <a:srgbClr val="3F3F3F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286000" marR="0" lvl="4" indent="-289560" algn="l" rtl="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960"/>
              <a:buFont typeface="Noto Sans Symbols"/>
              <a:buChar char="►"/>
              <a:defRPr sz="1200" b="0" i="0" u="none" strike="noStrike" cap="none">
                <a:solidFill>
                  <a:srgbClr val="3F3F3F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43200" marR="0" lvl="5" indent="-289560" algn="l" rtl="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960"/>
              <a:buFont typeface="Noto Sans Symbols"/>
              <a:buChar char="►"/>
              <a:defRPr sz="1200" b="0" i="0" u="none" strike="noStrike" cap="none">
                <a:solidFill>
                  <a:srgbClr val="3F3F3F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00400" marR="0" lvl="6" indent="-289560" algn="l" rtl="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960"/>
              <a:buFont typeface="Noto Sans Symbols"/>
              <a:buChar char="►"/>
              <a:defRPr sz="1200" b="0" i="0" u="none" strike="noStrike" cap="none">
                <a:solidFill>
                  <a:srgbClr val="3F3F3F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657600" marR="0" lvl="7" indent="-289559" algn="l" rtl="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960"/>
              <a:buFont typeface="Noto Sans Symbols"/>
              <a:buChar char="►"/>
              <a:defRPr sz="1200" b="0" i="0" u="none" strike="noStrike" cap="none">
                <a:solidFill>
                  <a:srgbClr val="3F3F3F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14800" marR="0" lvl="8" indent="-289559" algn="l" rtl="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960"/>
              <a:buFont typeface="Noto Sans Symbols"/>
              <a:buChar char="►"/>
              <a:defRPr sz="1200" b="0" i="0" u="none" strike="noStrike" cap="none">
                <a:solidFill>
                  <a:srgbClr val="3F3F3F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265" name="Google Shape;265;p1"/>
          <p:cNvSpPr txBox="1">
            <a:spLocks noGrp="1"/>
          </p:cNvSpPr>
          <p:nvPr>
            <p:ph type="dt" idx="10"/>
          </p:nvPr>
        </p:nvSpPr>
        <p:spPr>
          <a:xfrm>
            <a:off x="7205133" y="6041362"/>
            <a:ext cx="9120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266" name="Google Shape;266;p1"/>
          <p:cNvSpPr txBox="1">
            <a:spLocks noGrp="1"/>
          </p:cNvSpPr>
          <p:nvPr>
            <p:ph type="ftr" idx="11"/>
          </p:nvPr>
        </p:nvSpPr>
        <p:spPr>
          <a:xfrm>
            <a:off x="677334" y="6041362"/>
            <a:ext cx="62976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267" name="Google Shape;267;p1"/>
          <p:cNvSpPr txBox="1">
            <a:spLocks noGrp="1"/>
          </p:cNvSpPr>
          <p:nvPr>
            <p:ph type="sldNum" idx="12"/>
          </p:nvPr>
        </p:nvSpPr>
        <p:spPr>
          <a:xfrm>
            <a:off x="8590663" y="6041362"/>
            <a:ext cx="683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accent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61" r:id="rId14"/>
    <p:sldLayoutId id="2147483662" r:id="rId15"/>
    <p:sldLayoutId id="2147483663" r:id="rId1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7369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975AB3B-8736-4B7E-83A6-5F098AD99D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1F7DD2-5457-4732-90E8-01D502672D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B357D3-19AE-467B-89FD-BFE7DDE0BCA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788FEA-D922-4E65-B3F7-27E79A97CB9B}" type="datetimeFigureOut">
              <a:rPr lang="en-US" smtClean="0"/>
              <a:t>11/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6A8F28-0A40-4350-B84F-B99DA0337B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514B7F-CC5C-4797-ACAB-7C137059A1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AFB326-B575-4D7A-916A-F86394B93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2502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.xml"/><Relationship Id="rId6" Type="http://schemas.openxmlformats.org/officeDocument/2006/relationships/image" Target="../media/image6.png"/><Relationship Id="rId11" Type="http://schemas.openxmlformats.org/officeDocument/2006/relationships/image" Target="../media/image11.svg"/><Relationship Id="rId5" Type="http://schemas.openxmlformats.org/officeDocument/2006/relationships/image" Target="../media/image5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9.sv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Shape 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2" name="Google Shape;412;p2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994848" y="1421"/>
            <a:ext cx="10192603" cy="6855157"/>
          </a:xfrm>
          <a:prstGeom prst="rect">
            <a:avLst/>
          </a:prstGeom>
          <a:noFill/>
          <a:ln>
            <a:noFill/>
          </a:ln>
        </p:spPr>
      </p:pic>
      <p:sp>
        <p:nvSpPr>
          <p:cNvPr id="413" name="Google Shape;413;p22"/>
          <p:cNvSpPr txBox="1"/>
          <p:nvPr/>
        </p:nvSpPr>
        <p:spPr>
          <a:xfrm>
            <a:off x="223652" y="4356669"/>
            <a:ext cx="5400600" cy="93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Arial"/>
              <a:buNone/>
            </a:pPr>
            <a:r>
              <a:rPr lang="en-US" sz="19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UNICEF Mongólia</a:t>
            </a:r>
            <a:endParaRPr sz="1900" b="1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4" name="Google Shape;414;p22"/>
          <p:cNvSpPr txBox="1"/>
          <p:nvPr/>
        </p:nvSpPr>
        <p:spPr>
          <a:xfrm>
            <a:off x="223652" y="5481656"/>
            <a:ext cx="5400600" cy="93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133"/>
              <a:buFont typeface="Arial"/>
              <a:buNone/>
            </a:pPr>
            <a:r>
              <a:rPr lang="en-US" sz="19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Data 23</a:t>
            </a:r>
            <a:r>
              <a:rPr lang="en-US" sz="1900" b="1" i="0" u="none" strike="noStrike" cap="none" baseline="300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terceiro</a:t>
            </a:r>
            <a:r>
              <a:rPr lang="en-US" sz="19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Março de 2021</a:t>
            </a:r>
            <a:endParaRPr sz="1900" b="1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5" name="Google Shape;415;p22"/>
          <p:cNvSpPr txBox="1"/>
          <p:nvPr/>
        </p:nvSpPr>
        <p:spPr>
          <a:xfrm>
            <a:off x="7693925" y="1143000"/>
            <a:ext cx="3923700" cy="4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sz="2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6" name="Google Shape;416;p22"/>
          <p:cNvSpPr/>
          <p:nvPr/>
        </p:nvSpPr>
        <p:spPr>
          <a:xfrm>
            <a:off x="0" y="0"/>
            <a:ext cx="4667100" cy="6858000"/>
          </a:xfrm>
          <a:prstGeom prst="rect">
            <a:avLst/>
          </a:prstGeom>
          <a:solidFill>
            <a:srgbClr val="00AEE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7" name="Google Shape;417;p22"/>
          <p:cNvSpPr txBox="1"/>
          <p:nvPr/>
        </p:nvSpPr>
        <p:spPr>
          <a:xfrm>
            <a:off x="169024" y="177731"/>
            <a:ext cx="4498200" cy="463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</a:pPr>
            <a:endParaRPr sz="2800" b="1" i="0" u="none" strike="noStrike" cap="none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Arial"/>
              <a:buNone/>
            </a:pPr>
            <a:r>
              <a:rPr lang="en-US" sz="3600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Melhorar as disposições financeiras para os cuidados de saúde primários no Malawi</a:t>
            </a:r>
            <a:endParaRPr dirty="0"/>
          </a:p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Trebuchet MS"/>
              <a:buNone/>
            </a:pPr>
            <a:endParaRPr sz="1800" b="1" i="0" u="none" strike="noStrike" cap="none" dirty="0">
              <a:solidFill>
                <a:srgbClr val="FF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Trebuchet MS"/>
              <a:buNone/>
            </a:pPr>
            <a:endParaRPr sz="1800" b="1" i="0" u="none" strike="noStrike" cap="none" dirty="0">
              <a:solidFill>
                <a:srgbClr val="FF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Calibri"/>
              <a:buNone/>
            </a:pPr>
            <a:br>
              <a:rPr lang="en-US" sz="1800" b="1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1600" b="1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</a:br>
            <a:endParaRPr sz="2800" b="1" i="0" u="none" strike="noStrike" cap="none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</a:pPr>
            <a:endParaRPr sz="2800" b="1" i="0" u="none" strike="noStrike" cap="none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Arial"/>
              <a:buNone/>
            </a:pPr>
            <a:endParaRPr sz="6000" b="1" i="0" u="none" strike="noStrike" cap="none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18" name="Google Shape;418;p2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857186" y="6471753"/>
            <a:ext cx="939116" cy="234779"/>
          </a:xfrm>
          <a:prstGeom prst="rect">
            <a:avLst/>
          </a:prstGeom>
          <a:noFill/>
          <a:ln>
            <a:noFill/>
          </a:ln>
        </p:spPr>
      </p:pic>
      <p:sp>
        <p:nvSpPr>
          <p:cNvPr id="419" name="Google Shape;419;p22"/>
          <p:cNvSpPr txBox="1"/>
          <p:nvPr/>
        </p:nvSpPr>
        <p:spPr>
          <a:xfrm>
            <a:off x="272000" y="4570163"/>
            <a:ext cx="4292248" cy="102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Arial"/>
              <a:buNone/>
            </a:pPr>
            <a:r>
              <a:rPr lang="en-US" sz="2400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Apresentação do Governo do Malawi na CABRI PRW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Arial"/>
              <a:buNone/>
            </a:pPr>
            <a:endParaRPr sz="2400" b="1" i="0" u="none" strike="noStrike" cap="none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Arial"/>
              <a:buNone/>
            </a:pPr>
            <a:r>
              <a:rPr lang="en-US" sz="2000" b="0" i="1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8-9</a:t>
            </a:r>
            <a:r>
              <a:rPr lang="en-US" sz="2000" b="0" i="1" u="none" strike="noStrike" cap="none" baseline="30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º</a:t>
            </a:r>
            <a:r>
              <a:rPr lang="en-US" sz="2000" b="0" i="1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Novembro de 2023, Cidade do Cabo</a:t>
            </a:r>
            <a:endParaRPr sz="2000" b="0" i="1" u="none" strike="noStrike" cap="none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0" name="Google Shape;420;p22"/>
          <p:cNvSpPr txBox="1">
            <a:spLocks noGrp="1"/>
          </p:cNvSpPr>
          <p:nvPr>
            <p:ph type="sldNum" idx="12"/>
          </p:nvPr>
        </p:nvSpPr>
        <p:spPr>
          <a:xfrm>
            <a:off x="8590663" y="6041362"/>
            <a:ext cx="683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1</a:t>
            </a:fld>
            <a:endParaRPr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4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0" name="Google Shape;480;p29"/>
          <p:cNvSpPr txBox="1">
            <a:spLocks noGrp="1"/>
          </p:cNvSpPr>
          <p:nvPr>
            <p:ph type="ctrTitle"/>
          </p:nvPr>
        </p:nvSpPr>
        <p:spPr>
          <a:xfrm>
            <a:off x="1293743" y="526774"/>
            <a:ext cx="10007100" cy="91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BC69"/>
              </a:buClr>
              <a:buSzPts val="4400"/>
              <a:buFont typeface="Arial"/>
              <a:buNone/>
            </a:pPr>
            <a:r>
              <a:rPr lang="en-US" sz="44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ções do setor educacional</a:t>
            </a:r>
            <a:endParaRPr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1" name="Google Shape;481;p29"/>
          <p:cNvSpPr txBox="1">
            <a:spLocks noGrp="1"/>
          </p:cNvSpPr>
          <p:nvPr>
            <p:ph type="subTitle" idx="1"/>
          </p:nvPr>
        </p:nvSpPr>
        <p:spPr>
          <a:xfrm>
            <a:off x="528637" y="2004645"/>
            <a:ext cx="10429800" cy="390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lnSpcReduction="10000"/>
          </a:bodyPr>
          <a:lstStyle/>
          <a:p>
            <a:pPr marL="457200" lvl="0" indent="-4572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AutoNum type="arabicPeriod"/>
            </a:pPr>
            <a:r>
              <a:rPr lang="en-US" sz="2000" b="1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implementação do DFF não precisa estar condicionada ao “argumento do centro de custo”</a:t>
            </a:r>
            <a:r>
              <a:rPr lang="en-US" sz="20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pois é possível implementar o DFF sem tornar as instalações centros de custos, como é o caso actual de várias escolas primárias que estão a receber PSIG embora não sejam centros de custos</a:t>
            </a:r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0" indent="-4572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AutoNum type="arabicPeriod"/>
            </a:pPr>
            <a:r>
              <a:rPr lang="en-US" sz="20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 o desenvolvimento de capacidades, por exemplo, formação básica em contabilidade, o pessoal das instalações (como os professores) e as comunidades podem gerir e contabilizar eficazmente os fundos públicos.</a:t>
            </a:r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0" indent="-4572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AutoNum type="arabicPeriod"/>
            </a:pPr>
            <a:r>
              <a:rPr lang="en-US" sz="20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á existem capacidades dos Oficiais Distritais (como o Gabinete Distrital de Gestores de Educação) para fornecer os serviços de apoio necessários para instalações descentralizadas</a:t>
            </a:r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0" indent="-4572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AutoNum type="arabicPeriod"/>
            </a:pPr>
            <a:r>
              <a:rPr lang="en-US" sz="20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s desenvolvimentos financeiros em curso no Malawi apoiam instalações para abrir contas bancárias nos seus respectivos centros distritais</a:t>
            </a:r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0" indent="-4572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AutoNum type="arabicPeriod"/>
            </a:pPr>
            <a:r>
              <a:rPr lang="en-US" sz="20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implementação do DFF precisa de ser acompanhada por quadros de apoio, tais como fórmulas de atribuição de recursos, a serem utilizadas para alocar recursos de forma objectiva e transparente entre as instalações.</a:t>
            </a:r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0" indent="-339725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ct val="100000"/>
              <a:buFont typeface="Arial"/>
              <a:buNone/>
            </a:pPr>
            <a:endParaRPr sz="2000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7A13437-DDE8-484F-9F1D-D86595BC92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7A13437-DDE8-484F-9F1D-D86595BC92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3" name="Graphic 52" descr="Lights On with solid fill">
            <a:extLst>
              <a:ext uri="{FF2B5EF4-FFF2-40B4-BE49-F238E27FC236}">
                <a16:creationId xmlns:a16="http://schemas.microsoft.com/office/drawing/2014/main" id="{C8B8DC00-A50C-405B-B76F-D87AFBBB563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560849" y="3028018"/>
            <a:ext cx="2945078" cy="2945078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408F1D50-1922-42E2-B92E-6E4A064BC811}"/>
              </a:ext>
            </a:extLst>
          </p:cNvPr>
          <p:cNvSpPr/>
          <p:nvPr/>
        </p:nvSpPr>
        <p:spPr>
          <a:xfrm>
            <a:off x="703172" y="2740973"/>
            <a:ext cx="11134066" cy="3391168"/>
          </a:xfrm>
          <a:prstGeom prst="rect">
            <a:avLst/>
          </a:prstGeom>
          <a:solidFill>
            <a:srgbClr val="41837D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546C05A8-3057-4D94-BD80-1EC8DD6C304F}"/>
              </a:ext>
            </a:extLst>
          </p:cNvPr>
          <p:cNvSpPr/>
          <p:nvPr/>
        </p:nvSpPr>
        <p:spPr>
          <a:xfrm>
            <a:off x="4542979" y="2946369"/>
            <a:ext cx="3386311" cy="3108377"/>
          </a:xfrm>
          <a:prstGeom prst="roundRect">
            <a:avLst>
              <a:gd name="adj" fmla="val 8571"/>
            </a:avLst>
          </a:prstGeom>
          <a:solidFill>
            <a:srgbClr val="588894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BFE80A0-BC9E-4BC7-9267-7D738D6CA204}"/>
              </a:ext>
            </a:extLst>
          </p:cNvPr>
          <p:cNvSpPr txBox="1"/>
          <p:nvPr/>
        </p:nvSpPr>
        <p:spPr>
          <a:xfrm>
            <a:off x="4746150" y="3252727"/>
            <a:ext cx="3186843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alibri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siderando o espaço fiscal limitado para a expansão dos orçamentos do governo e dos doadores, os ganhos contínuos de eficiência são fundamentais para que o Malawi cumpra a PAH e alcance os seus objectivos de CUS.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C3D72070-990A-4DBB-A19C-224EA48B23DA}"/>
              </a:ext>
            </a:extLst>
          </p:cNvPr>
          <p:cNvSpPr/>
          <p:nvPr/>
        </p:nvSpPr>
        <p:spPr>
          <a:xfrm>
            <a:off x="845369" y="2937004"/>
            <a:ext cx="3386311" cy="3108378"/>
          </a:xfrm>
          <a:prstGeom prst="roundRect">
            <a:avLst>
              <a:gd name="adj" fmla="val 7761"/>
            </a:avLst>
          </a:prstGeom>
          <a:solidFill>
            <a:srgbClr val="588894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00C459"/>
              </a:highlight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51" name="Graphic 50" descr="Coins with solid fill">
            <a:extLst>
              <a:ext uri="{FF2B5EF4-FFF2-40B4-BE49-F238E27FC236}">
                <a16:creationId xmlns:a16="http://schemas.microsoft.com/office/drawing/2014/main" id="{BE102756-5002-474B-BD10-5890F669582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42479" y="2955073"/>
            <a:ext cx="3185764" cy="3185764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B2885F72-DD1B-4417-A769-4AEC99D79C10}"/>
              </a:ext>
            </a:extLst>
          </p:cNvPr>
          <p:cNvSpPr txBox="1"/>
          <p:nvPr/>
        </p:nvSpPr>
        <p:spPr>
          <a:xfrm>
            <a:off x="978496" y="3560504"/>
            <a:ext cx="318576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s despesas com a saúde estão actualmente estimadas em 39,8 dólares per capita, muito abaixo da recomendação da OMS de 86 dólares per capita para países de baixo rendimento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01CE93-32AE-4368-94DD-F3D8B663E5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172" y="124764"/>
            <a:ext cx="10970910" cy="1072295"/>
          </a:xfrm>
        </p:spPr>
        <p:txBody>
          <a:bodyPr vert="horz">
            <a:normAutofit fontScale="90000"/>
          </a:bodyPr>
          <a:lstStyle/>
          <a:p>
            <a:pPr algn="l" rtl="0"/>
            <a:r>
              <a:rPr lang="en-US" sz="24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 o Sector da Saúde: o financiamento directo das instalações de saúde (DHFF) é uma das reformas “revolucionárias” do Plano Estratégico III do Sector da Saúde e da Estratégia Nacional de Financiamento da Saúde</a:t>
            </a:r>
            <a:endParaRPr lang="x-none" sz="240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D6076A38-946F-4DE5-8804-99CE6272A6E9}"/>
              </a:ext>
            </a:extLst>
          </p:cNvPr>
          <p:cNvSpPr/>
          <p:nvPr/>
        </p:nvSpPr>
        <p:spPr>
          <a:xfrm>
            <a:off x="8344026" y="2937003"/>
            <a:ext cx="3386311" cy="3127111"/>
          </a:xfrm>
          <a:prstGeom prst="roundRect">
            <a:avLst>
              <a:gd name="adj" fmla="val 7491"/>
            </a:avLst>
          </a:prstGeom>
          <a:solidFill>
            <a:srgbClr val="588894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37FEB22-1D6D-44D7-A618-D6362260A024}"/>
              </a:ext>
            </a:extLst>
          </p:cNvPr>
          <p:cNvSpPr/>
          <p:nvPr/>
        </p:nvSpPr>
        <p:spPr>
          <a:xfrm>
            <a:off x="703172" y="1539841"/>
            <a:ext cx="11134066" cy="1072294"/>
          </a:xfrm>
          <a:prstGeom prst="rect">
            <a:avLst/>
          </a:prstGeom>
          <a:solidFill>
            <a:srgbClr val="58889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 HSSP III define um pacote priorizado de serviços de saúde críticos como parte do Pacote de Benefícios de Saúde (HBP)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622481C-218B-4AB4-AC20-7BB86309E086}"/>
              </a:ext>
            </a:extLst>
          </p:cNvPr>
          <p:cNvSpPr txBox="1"/>
          <p:nvPr/>
        </p:nvSpPr>
        <p:spPr>
          <a:xfrm>
            <a:off x="8448346" y="3073738"/>
            <a:ext cx="322573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Calibri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implementação do DFF e das reformas dos pagamentos aos fornecedores são caminhos potenciais para a eficiência.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B74919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 HSSP III e a Estratégia de Financiamento da Saúde mencionam tanto os Subsídios para a Melhoria dos Centros de Saúde como o DFF como opções políticas.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B7491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5" name="Graphic 54" descr="Presentation with pie chart with solid fill">
            <a:extLst>
              <a:ext uri="{FF2B5EF4-FFF2-40B4-BE49-F238E27FC236}">
                <a16:creationId xmlns:a16="http://schemas.microsoft.com/office/drawing/2014/main" id="{2F5FC6E4-F5F5-4501-A8A3-9970B297EBA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910532" y="3222353"/>
            <a:ext cx="2651204" cy="265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9863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F9E76-7A9D-7B20-0BC3-F94918A6157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838200" y="307975"/>
            <a:ext cx="10515600" cy="1325563"/>
          </a:xfrm>
          <a:solidFill>
            <a:schemeClr val="bg1"/>
          </a:solidFill>
        </p:spPr>
        <p:txBody>
          <a:bodyPr>
            <a:normAutofit/>
          </a:bodyPr>
          <a:lstStyle/>
          <a:p>
            <a:pPr algn="l" rtl="0"/>
            <a:r>
              <a:rPr lang="en-US" sz="40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tivos do DFF no</a:t>
            </a:r>
            <a:br>
              <a:rPr lang="en-US" sz="40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0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SSP III e HFS</a:t>
            </a:r>
            <a:endParaRPr lang="x-none" sz="400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B6D85B83-414F-825D-67E3-17DB4CD6A6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071" y="1867246"/>
            <a:ext cx="6401221" cy="4757045"/>
          </a:xfrm>
        </p:spPr>
        <p:txBody>
          <a:bodyPr>
            <a:normAutofit/>
          </a:bodyPr>
          <a:lstStyle/>
          <a:p>
            <a:pPr marL="742950" lvl="1" indent="-285750" algn="l" rtl="0">
              <a:spcAft>
                <a:spcPts val="800"/>
              </a:spcAft>
              <a:tabLst>
                <a:tab pos="914400" algn="l"/>
              </a:tabLst>
            </a:pPr>
            <a:r>
              <a:rPr lang="en-US" sz="20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apacitar as instalações para liderarem a melhoria da saúde das suas áreas de influência</a:t>
            </a:r>
            <a:endParaRPr lang="x-none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 algn="l" rtl="0">
              <a:spcAft>
                <a:spcPts val="800"/>
              </a:spcAft>
              <a:tabLst>
                <a:tab pos="914400" algn="l"/>
              </a:tabLst>
            </a:pPr>
            <a:r>
              <a:rPr lang="en-US" sz="20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Facilitar um Plano Único, um Orçamento e um mecanismo de M&amp;A ao nível da unidade de saúde, onde os parceiros locais apoiam um plano da unidade de saúde</a:t>
            </a:r>
            <a:endParaRPr lang="x-none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 algn="l" rtl="0">
              <a:spcAft>
                <a:spcPts val="800"/>
              </a:spcAft>
              <a:tabLst>
                <a:tab pos="914400" algn="l"/>
              </a:tabLst>
            </a:pPr>
            <a:r>
              <a:rPr lang="en-US" sz="20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Fortalecer a supervisão comunitária das unidades de saúde e a participação comunitária na prestação de cuidados centrados no cliente</a:t>
            </a:r>
            <a:endParaRPr lang="x-none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 algn="l" rtl="0">
              <a:spcAft>
                <a:spcPts val="800"/>
              </a:spcAft>
              <a:tabLst>
                <a:tab pos="914400" algn="l"/>
              </a:tabLst>
            </a:pPr>
            <a:r>
              <a:rPr lang="en-US" sz="20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atalisar a reforma do financiamento da saúde, ou seja, contribuições voluntárias comunitárias/empresariais/financeiras em espécie para unidades de saúde</a:t>
            </a:r>
            <a:endParaRPr lang="x-none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l" rtl="0"/>
            <a:endParaRPr lang="x-non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AEF565C-CDBA-F438-5853-40C9BBE155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42410" y="0"/>
            <a:ext cx="47495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8203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ECE420-465F-4122-96C6-0544254397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766" y="388999"/>
            <a:ext cx="6446267" cy="938255"/>
          </a:xfrm>
        </p:spPr>
        <p:txBody>
          <a:bodyPr>
            <a:normAutofit fontScale="90000"/>
          </a:bodyPr>
          <a:lstStyle/>
          <a:p>
            <a:pPr algn="l" rtl="0"/>
            <a:br>
              <a:rPr lang="en-US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é-requisitos gerais para implementação do DFF</a:t>
            </a:r>
            <a:br>
              <a:rPr lang="en-US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BE8303-90E4-40F3-AD46-9F1F7AFBCC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6195" y="1637266"/>
            <a:ext cx="4865433" cy="4984267"/>
          </a:xfrm>
        </p:spPr>
        <p:txBody>
          <a:bodyPr>
            <a:normAutofit/>
          </a:bodyPr>
          <a:lstStyle/>
          <a:p>
            <a:pPr marL="114300" indent="0" algn="l" rtl="0">
              <a:buNone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Pré-requisitos para inscrição de instalações no DFF</a:t>
            </a:r>
          </a:p>
          <a:p>
            <a:pPr lvl="1" algn="l" rtl="0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Pelo menos uma equipe de saúde treinada</a:t>
            </a:r>
          </a:p>
          <a:p>
            <a:pPr lvl="1" algn="l" rtl="0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omitê Diretor de Unidades de Saúde Funcionais</a:t>
            </a:r>
          </a:p>
          <a:p>
            <a:pPr lvl="1" algn="l" rtl="0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Plano de Saúde das Instalações</a:t>
            </a:r>
          </a:p>
          <a:p>
            <a:pPr lvl="1" algn="l" rtl="0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Dados de desempenho de serviço (HMIS)</a:t>
            </a:r>
          </a:p>
          <a:p>
            <a:pPr lvl="1" algn="l" rtl="0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onta bancária de instalação ativa</a:t>
            </a:r>
          </a:p>
          <a:p>
            <a:pPr lvl="1" algn="l" rtl="0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Pessoa de contabilidade de receita</a:t>
            </a:r>
          </a:p>
          <a:p>
            <a:pPr lvl="1" algn="l" rtl="0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anal de Comunicação Funcional</a:t>
            </a:r>
          </a:p>
          <a:p>
            <a:pPr algn="l" rtl="0"/>
            <a:endParaRPr lang="en-US" dirty="0"/>
          </a:p>
          <a:p>
            <a:pPr algn="l" rtl="0"/>
            <a:endParaRPr lang="en-US" dirty="0"/>
          </a:p>
        </p:txBody>
      </p:sp>
      <p:pic>
        <p:nvPicPr>
          <p:cNvPr id="4" name="Google Shape;429;p23">
            <a:extLst>
              <a:ext uri="{FF2B5EF4-FFF2-40B4-BE49-F238E27FC236}">
                <a16:creationId xmlns:a16="http://schemas.microsoft.com/office/drawing/2014/main" id="{8A0FEF2A-E68B-1549-512F-FDB24CD3DE52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b="21433"/>
          <a:stretch/>
        </p:blipFill>
        <p:spPr>
          <a:xfrm>
            <a:off x="6566335" y="-1756"/>
            <a:ext cx="5612525" cy="685975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683904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4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3" name="Google Shape;493;p31"/>
          <p:cNvSpPr txBox="1"/>
          <p:nvPr/>
        </p:nvSpPr>
        <p:spPr>
          <a:xfrm>
            <a:off x="5421086" y="7135586"/>
            <a:ext cx="1848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4" name="Google Shape;494;p31"/>
          <p:cNvSpPr/>
          <p:nvPr/>
        </p:nvSpPr>
        <p:spPr>
          <a:xfrm>
            <a:off x="441998" y="44686"/>
            <a:ext cx="11420100" cy="48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28750"/>
              </a:lnSpc>
              <a:spcBef>
                <a:spcPts val="0"/>
              </a:spcBef>
              <a:spcAft>
                <a:spcPts val="0"/>
              </a:spcAft>
              <a:buClr>
                <a:srgbClr val="E1BC69"/>
              </a:buClr>
              <a:buSzPts val="3200"/>
              <a:buFont typeface="Arial"/>
              <a:buNone/>
            </a:pPr>
            <a:r>
              <a:rPr lang="en-US" sz="3200" b="1" i="0" u="none" strike="noStrike" cap="none" dirty="0">
                <a:solidFill>
                  <a:srgbClr val="FF9933"/>
                </a:solidFill>
                <a:latin typeface="Arial"/>
                <a:ea typeface="Arial"/>
                <a:cs typeface="Arial"/>
                <a:sym typeface="Arial"/>
              </a:rPr>
              <a:t>Ideias Adicionais para Ação da Reunião de Partes Interessadas</a:t>
            </a:r>
            <a:endParaRPr sz="3200" b="1" i="0" u="none" strike="noStrike" cap="none" dirty="0">
              <a:solidFill>
                <a:srgbClr val="FF9933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5" name="Google Shape;495;p31"/>
          <p:cNvSpPr txBox="1">
            <a:spLocks noGrp="1"/>
          </p:cNvSpPr>
          <p:nvPr>
            <p:ph idx="1"/>
          </p:nvPr>
        </p:nvSpPr>
        <p:spPr>
          <a:xfrm>
            <a:off x="441998" y="995364"/>
            <a:ext cx="11169000" cy="501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</a:pPr>
            <a:endParaRPr sz="2000" b="0" i="0" u="none" strike="noStrik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286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000"/>
              <a:buChar char="•"/>
            </a:pPr>
            <a:r>
              <a:rPr lang="en-US" sz="20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efender mais dotações orçamentais para implementar o DFF</a:t>
            </a:r>
            <a:r>
              <a:rPr lang="en-US" sz="20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2286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000"/>
              <a:buChar char="•"/>
            </a:pPr>
            <a:r>
              <a:rPr lang="en-US" sz="20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ortalecer o sistema intergovernamental de transferências fiscais</a:t>
            </a:r>
            <a:r>
              <a:rPr lang="en-US" sz="20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 assegurar a concepção e implementação de uma fórmula de atribuição de recursos para apoiar as reformas de financiamento dos CPS</a:t>
            </a:r>
            <a:endParaRPr dirty="0"/>
          </a:p>
          <a:p>
            <a:pPr marL="2286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000"/>
              <a:buChar char="•"/>
            </a:pPr>
            <a:r>
              <a:rPr lang="en-US" sz="2000" b="1" i="0" u="none" strike="noStrik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nvolver e apoiar o Ministério da Saúde para estabelecer uma orientação política clara e baseada em evidências no que diz respeito ao financiamento dos CPS</a:t>
            </a:r>
            <a:r>
              <a:rPr lang="en-US" sz="2000" b="0" i="0" u="none" strike="noStrik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. Dois</a:t>
            </a:r>
            <a:r>
              <a:rPr lang="en-US" sz="20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pções políticas poderiam ser consideradas:</a:t>
            </a:r>
            <a:endParaRPr dirty="0"/>
          </a:p>
          <a:p>
            <a:pPr marL="6858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2000"/>
              <a:buChar char="•"/>
            </a:pPr>
            <a:r>
              <a:rPr lang="en-US" sz="2000" b="0" i="0" u="none" strike="noStrik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rocesso de apoio para que unidades de saúde primárias sejam declaradas aptas a serem centros de custos</a:t>
            </a:r>
            <a:endParaRPr dirty="0"/>
          </a:p>
          <a:p>
            <a:pPr marL="6858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2000"/>
              <a:buChar char="•"/>
            </a:pPr>
            <a:r>
              <a:rPr lang="en-US" sz="2000" b="0" i="0" u="none" strike="noStrik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ilotar a implementação do DFF utilizando recursos do Governo em áreas de saúde selecionadas</a:t>
            </a:r>
            <a:r>
              <a:rPr lang="en-US" sz="2000" b="0" i="0" u="none" strike="noStrike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entros</a:t>
            </a:r>
            <a:r>
              <a:rPr lang="en-US" sz="2000" b="0" i="0" u="none" strike="noStrik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m um conselho local selecionado e fornecer treinamento básico em contabilidade e serviços de apoio ao pessoal de saúde</a:t>
            </a:r>
            <a:endParaRPr sz="2000" b="0" i="0" u="none" strike="noStrik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" name="Google Shape;501;p32"/>
          <p:cNvSpPr txBox="1"/>
          <p:nvPr/>
        </p:nvSpPr>
        <p:spPr>
          <a:xfrm>
            <a:off x="5421086" y="7135586"/>
            <a:ext cx="1848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2" name="Google Shape;502;p32"/>
          <p:cNvSpPr/>
          <p:nvPr/>
        </p:nvSpPr>
        <p:spPr>
          <a:xfrm>
            <a:off x="441998" y="44686"/>
            <a:ext cx="10995580" cy="10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28750"/>
              </a:lnSpc>
              <a:spcBef>
                <a:spcPts val="0"/>
              </a:spcBef>
              <a:spcAft>
                <a:spcPts val="0"/>
              </a:spcAft>
              <a:buClr>
                <a:srgbClr val="E1BC69"/>
              </a:buClr>
              <a:buSzPts val="3200"/>
              <a:buFont typeface="Arial"/>
              <a:buNone/>
            </a:pPr>
            <a:r>
              <a:rPr lang="en-US" sz="2800" b="1" i="0" u="none" strike="noStrike" cap="none" dirty="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Desafios enfrentados na implementação de ideias e como a equipe abordou estes</a:t>
            </a:r>
            <a:endParaRPr sz="2800" b="1" i="0" u="none" strike="noStrike" cap="none" dirty="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3" name="Google Shape;503;p32"/>
          <p:cNvSpPr txBox="1">
            <a:spLocks noGrp="1"/>
          </p:cNvSpPr>
          <p:nvPr>
            <p:ph idx="1"/>
          </p:nvPr>
        </p:nvSpPr>
        <p:spPr>
          <a:xfrm>
            <a:off x="511500" y="1652115"/>
            <a:ext cx="10855351" cy="44910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</a:pPr>
            <a:endParaRPr sz="2000" i="0" u="none" strike="noStrik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lvl="0" algn="l" rtl="0">
              <a:buClr>
                <a:srgbClr val="000000"/>
              </a:buClr>
              <a:buSzPts val="2000"/>
            </a:pPr>
            <a:r>
              <a:rPr lang="en-US" sz="20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 questão de tornar as instalações de saúde centros de custo</a:t>
            </a:r>
          </a:p>
          <a:p>
            <a:pPr lvl="0" algn="l" rtl="0">
              <a:buClr>
                <a:srgbClr val="000000"/>
              </a:buClr>
              <a:buSzPts val="2000"/>
            </a:pPr>
            <a:r>
              <a:rPr lang="en-US" sz="20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 questão da disponibilidade de pessoal qualificado para trabalhar em instalações como pessoal de contabilidade</a:t>
            </a:r>
          </a:p>
          <a:p>
            <a:pPr lvl="0" algn="l" rtl="0">
              <a:buClr>
                <a:srgbClr val="000000"/>
              </a:buClr>
              <a:buSzPts val="2000"/>
            </a:pPr>
            <a:r>
              <a:rPr lang="en-US" sz="20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 questão de saber se haveria carga de trabalho suficiente na instalação para exigir esse pessoal</a:t>
            </a:r>
          </a:p>
          <a:p>
            <a:pPr lvl="0" algn="l" rtl="0">
              <a:buClr>
                <a:srgbClr val="000000"/>
              </a:buClr>
              <a:buSzPts val="2000"/>
            </a:pPr>
            <a:r>
              <a:rPr lang="en-US" sz="20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 tamanho geral da cesta de recursos que pode precisar ser aumentado.</a:t>
            </a:r>
            <a:endParaRPr sz="20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286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000"/>
              <a:buChar char="•"/>
            </a:pPr>
            <a:r>
              <a:rPr lang="en-US" sz="2000" i="0" u="none" strike="noStrik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</a:t>
            </a:r>
            <a:r>
              <a:rPr lang="en-US" sz="20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s questões ainda estão a ser discutidas a um nível mais amplo, onde as opções estão a ser examinadas para encontrar a melhor opção.</a:t>
            </a:r>
          </a:p>
          <a:p>
            <a:pPr marL="2286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000"/>
              <a:buChar char="•"/>
            </a:pPr>
            <a:r>
              <a:rPr lang="en-US" sz="2000" i="0" u="none" strike="noStrik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s lições aprendidas com a implementação de subsídios para melhoria escolar e o financiamento directo de instalações de saúde no sector da educação na Tanzânia estão actualmente a ser consideradas.</a:t>
            </a:r>
            <a:endParaRPr sz="2000" i="0" u="none" strike="noStrik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9" name="Google Shape;509;p33"/>
          <p:cNvSpPr txBox="1"/>
          <p:nvPr/>
        </p:nvSpPr>
        <p:spPr>
          <a:xfrm>
            <a:off x="5421086" y="7135586"/>
            <a:ext cx="1848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0" name="Google Shape;510;p33"/>
          <p:cNvSpPr/>
          <p:nvPr/>
        </p:nvSpPr>
        <p:spPr>
          <a:xfrm>
            <a:off x="441998" y="44686"/>
            <a:ext cx="11420100" cy="48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lnSpc>
                <a:spcPct val="128750"/>
              </a:lnSpc>
              <a:spcBef>
                <a:spcPts val="0"/>
              </a:spcBef>
              <a:spcAft>
                <a:spcPts val="0"/>
              </a:spcAft>
              <a:buClr>
                <a:srgbClr val="E1BC69"/>
              </a:buClr>
              <a:buSzPts val="3200"/>
              <a:buFont typeface="Arial"/>
              <a:buNone/>
            </a:pPr>
            <a:r>
              <a:rPr lang="en-US" sz="3200" b="1" i="0" u="none" strike="noStrike" cap="none" dirty="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Medidas de sucesso</a:t>
            </a:r>
            <a:endParaRPr sz="3200" b="1" i="0" u="none" strike="noStrike" cap="none" dirty="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1" name="Google Shape;511;p33"/>
          <p:cNvSpPr txBox="1">
            <a:spLocks noGrp="1"/>
          </p:cNvSpPr>
          <p:nvPr>
            <p:ph idx="1"/>
          </p:nvPr>
        </p:nvSpPr>
        <p:spPr>
          <a:xfrm>
            <a:off x="441998" y="995364"/>
            <a:ext cx="11169000" cy="501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</a:pPr>
            <a:endParaRPr sz="2000" b="0" i="0" u="none" strike="noStrik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28600" lvl="0" indent="-101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</a:pPr>
            <a:endParaRPr sz="2000" b="1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4589101"/>
              </p:ext>
            </p:extLst>
          </p:nvPr>
        </p:nvGraphicFramePr>
        <p:xfrm>
          <a:off x="116195" y="575367"/>
          <a:ext cx="11931460" cy="6174782"/>
        </p:xfrm>
        <a:graphic>
          <a:graphicData uri="http://schemas.openxmlformats.org/drawingml/2006/table">
            <a:tbl>
              <a:tblPr firstRow="1" firstCol="1" bandRow="1">
                <a:tableStyleId>{2FCFCE20-206A-47F4-BC1C-3F66DA1E6134}</a:tableStyleId>
              </a:tblPr>
              <a:tblGrid>
                <a:gridCol w="16754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2560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5067">
                <a:tc>
                  <a:txBody>
                    <a:bodyPr/>
                    <a:lstStyle/>
                    <a:p>
                      <a:pPr algn="l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</a:rPr>
                        <a:t>Ponto de entrada</a:t>
                      </a:r>
                      <a:endParaRPr lang="en-US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552" marR="52552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Medidas de progresso ou sucesso</a:t>
                      </a:r>
                    </a:p>
                    <a:p>
                      <a:pPr algn="l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 </a:t>
                      </a:r>
                      <a:endParaRPr lang="en-US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552" marR="52552" marT="0" marB="0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1626">
                <a:tc rowSpan="7">
                  <a:txBody>
                    <a:bodyPr/>
                    <a:lstStyle/>
                    <a:p>
                      <a:pPr algn="l" rtl="0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Desenvolver e implementar directrizes para o Financiamento Directo de Instalações de Saúde</a:t>
                      </a:r>
                    </a:p>
                    <a:p>
                      <a:pPr algn="l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 </a:t>
                      </a:r>
                    </a:p>
                    <a:p>
                      <a:pPr algn="l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 </a:t>
                      </a:r>
                    </a:p>
                    <a:p>
                      <a:pPr algn="l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 </a:t>
                      </a:r>
                    </a:p>
                    <a:p>
                      <a:pPr algn="l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 </a:t>
                      </a:r>
                    </a:p>
                    <a:p>
                      <a:pPr algn="l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 </a:t>
                      </a:r>
                    </a:p>
                    <a:p>
                      <a:pPr algn="l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 </a:t>
                      </a:r>
                      <a:endParaRPr lang="en-US" sz="14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52552" marR="52552" marT="0" marB="0"/>
                </a:tc>
                <a:tc>
                  <a:txBody>
                    <a:bodyPr/>
                    <a:lstStyle/>
                    <a:p>
                      <a:pPr marL="285750" indent="-285750" algn="l" rtl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effectLst/>
                        </a:rPr>
                        <a:t>O grupo de trabalho das partes interessadas relevantes no DFF está em vigor e funcional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552" marR="52552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384">
                <a:tc vMerge="1">
                  <a:txBody>
                    <a:bodyPr/>
                    <a:lstStyle/>
                    <a:p>
                      <a:pPr algn="l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 </a:t>
                      </a:r>
                      <a:endParaRPr lang="en-US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552" marR="52552" marT="0" marB="0"/>
                </a:tc>
                <a:tc>
                  <a:txBody>
                    <a:bodyPr/>
                    <a:lstStyle/>
                    <a:p>
                      <a:pPr marL="285750" indent="-285750" algn="l" rtl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effectLst/>
                        </a:rPr>
                        <a:t>Número de reuniões consultivas realizadas.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552" marR="52552" marT="0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0767">
                <a:tc vMerge="1">
                  <a:txBody>
                    <a:bodyPr/>
                    <a:lstStyle/>
                    <a:p>
                      <a:pPr algn="l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 </a:t>
                      </a:r>
                      <a:endParaRPr lang="en-US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552" marR="52552" marT="0" marB="0"/>
                </a:tc>
                <a:tc>
                  <a:txBody>
                    <a:bodyPr/>
                    <a:lstStyle/>
                    <a:p>
                      <a:pPr marL="285750" indent="-285750" algn="l" rtl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effectLst/>
                        </a:rPr>
                        <a:t>Uma fórmula para desembolsar transferências governamentais directamente para instalações é formulada a nível do Conselho.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552" marR="52552" marT="0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01151">
                <a:tc vMerge="1">
                  <a:txBody>
                    <a:bodyPr/>
                    <a:lstStyle/>
                    <a:p>
                      <a:pPr algn="l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 </a:t>
                      </a:r>
                      <a:endParaRPr lang="en-US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552" marR="52552" marT="0" marB="0"/>
                </a:tc>
                <a:tc>
                  <a:txBody>
                    <a:bodyPr/>
                    <a:lstStyle/>
                    <a:p>
                      <a:pPr marL="285750" indent="-285750" algn="l" rtl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effectLst/>
                        </a:rPr>
                        <a:t>As instalações em três conselhos distritais começam a receber transferências directas numa base piloto no primeiro ano de implementação.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552" marR="52552" marT="0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01151">
                <a:tc vMerge="1">
                  <a:txBody>
                    <a:bodyPr/>
                    <a:lstStyle/>
                    <a:p>
                      <a:pPr algn="l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 </a:t>
                      </a:r>
                      <a:endParaRPr lang="en-US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552" marR="52552" marT="0" marB="0"/>
                </a:tc>
                <a:tc>
                  <a:txBody>
                    <a:bodyPr/>
                    <a:lstStyle/>
                    <a:p>
                      <a:pPr marL="285750" indent="-285750" algn="l" rtl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effectLst/>
                        </a:rPr>
                        <a:t>As comunidades ao serviço das unidades de saúde participam na tomada de decisões através dos comités de gestão das unidades de saúde.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552" marR="52552" marT="0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00767">
                <a:tc vMerge="1">
                  <a:txBody>
                    <a:bodyPr/>
                    <a:lstStyle/>
                    <a:p>
                      <a:pPr algn="l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 </a:t>
                      </a:r>
                      <a:endParaRPr lang="en-US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552" marR="52552" marT="0" marB="0"/>
                </a:tc>
                <a:tc>
                  <a:txBody>
                    <a:bodyPr/>
                    <a:lstStyle/>
                    <a:p>
                      <a:pPr marL="285750" indent="-285750" algn="l" rtl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effectLst/>
                        </a:rPr>
                        <a:t>Os sistemas são implementados para manutenção adequada de registros e contabilidade em nível de instalação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552" marR="52552" marT="0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0384">
                <a:tc vMerge="1">
                  <a:txBody>
                    <a:bodyPr/>
                    <a:lstStyle/>
                    <a:p>
                      <a:pPr algn="l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 </a:t>
                      </a:r>
                      <a:endParaRPr lang="en-US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552" marR="52552" marT="0" marB="0"/>
                </a:tc>
                <a:tc>
                  <a:txBody>
                    <a:bodyPr/>
                    <a:lstStyle/>
                    <a:p>
                      <a:pPr marL="285750" indent="-285750" algn="l" rtl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effectLst/>
                        </a:rPr>
                        <a:t>Orientações são divulgadas a todos os Gabinetes Distritais de Saúde</a:t>
                      </a:r>
                      <a:endParaRPr lang="en-US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552" marR="52552" marT="0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75737">
                <a:tc rowSpan="4">
                  <a:txBody>
                    <a:bodyPr/>
                    <a:lstStyle/>
                    <a:p>
                      <a:pPr algn="l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ogar junto ao Tesouro com base nas necessidades orçamentadas identificadas</a:t>
                      </a:r>
                    </a:p>
                    <a:p>
                      <a:pPr algn="l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algn="l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algn="l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 </a:t>
                      </a:r>
                      <a:endParaRPr lang="en-US" sz="14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52552" marR="52552" marT="0" marB="0"/>
                </a:tc>
                <a:tc>
                  <a:txBody>
                    <a:bodyPr/>
                    <a:lstStyle/>
                    <a:p>
                      <a:pPr marL="285750" indent="-285750" algn="l" rtl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effectLst/>
                        </a:rPr>
                        <a:t>É criado um mecanismo transparente para a determinação dos limites máximos das instalações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552" marR="52552" marT="0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75737">
                <a:tc vMerge="1">
                  <a:txBody>
                    <a:bodyPr/>
                    <a:lstStyle/>
                    <a:p>
                      <a:pPr algn="l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 </a:t>
                      </a:r>
                      <a:endParaRPr lang="en-US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552" marR="52552" marT="0" marB="0"/>
                </a:tc>
                <a:tc>
                  <a:txBody>
                    <a:bodyPr/>
                    <a:lstStyle/>
                    <a:p>
                      <a:pPr marL="285750" indent="-285750" algn="l" rtl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effectLst/>
                        </a:rPr>
                        <a:t>Um ajustamento ascendente nas alocações de recursos para o sector com base nos modelos de custeio que foram formulados.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552" marR="52552" marT="0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601151">
                <a:tc vMerge="1">
                  <a:txBody>
                    <a:bodyPr/>
                    <a:lstStyle/>
                    <a:p>
                      <a:pPr algn="l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 </a:t>
                      </a:r>
                      <a:endParaRPr lang="en-US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552" marR="52552" marT="0" marB="0"/>
                </a:tc>
                <a:tc>
                  <a:txBody>
                    <a:bodyPr/>
                    <a:lstStyle/>
                    <a:p>
                      <a:pPr marL="285750" indent="-285750" algn="l" rtl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effectLst/>
                        </a:rPr>
                        <a:t>Um estudo comparativo com o sector da Educação que está actualmente a implementar um sistema de transferência directa de recursos do ensino primário.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552" marR="52552" marT="0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601151">
                <a:tc vMerge="1">
                  <a:txBody>
                    <a:bodyPr/>
                    <a:lstStyle/>
                    <a:p>
                      <a:pPr algn="l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 </a:t>
                      </a:r>
                      <a:endParaRPr lang="en-US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552" marR="52552" marT="0" marB="0"/>
                </a:tc>
                <a:tc>
                  <a:txBody>
                    <a:bodyPr/>
                    <a:lstStyle/>
                    <a:p>
                      <a:pPr marL="285750" indent="-285750" algn="l" rtl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effectLst/>
                        </a:rPr>
                        <a:t>Aprendizagem comparativa de outros países da região sobre como as unidades de saúde são financiadas – níveis e sistemas relativos.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552" marR="52552" marT="0" marB="0" anchor="b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00384">
                <a:tc>
                  <a:txBody>
                    <a:bodyPr/>
                    <a:lstStyle/>
                    <a:p>
                      <a:pPr algn="l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 </a:t>
                      </a:r>
                      <a:endParaRPr lang="en-US" sz="7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552" marR="52552" marT="0" marB="0"/>
                </a:tc>
                <a:tc>
                  <a:txBody>
                    <a:bodyPr/>
                    <a:lstStyle/>
                    <a:p>
                      <a:pPr marL="285750" indent="-285750" algn="l" rtl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effectLst/>
                        </a:rPr>
                        <a:t>Relatórios de revisões periódicas.</a:t>
                      </a:r>
                      <a:endParaRPr lang="en-US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552" marR="52552" marT="0" marB="0" anchor="b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Google Shape;517;p34"/>
          <p:cNvSpPr txBox="1"/>
          <p:nvPr/>
        </p:nvSpPr>
        <p:spPr>
          <a:xfrm>
            <a:off x="5421086" y="7135586"/>
            <a:ext cx="1848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8" name="Google Shape;518;p34"/>
          <p:cNvSpPr/>
          <p:nvPr/>
        </p:nvSpPr>
        <p:spPr>
          <a:xfrm>
            <a:off x="441998" y="44686"/>
            <a:ext cx="11420100" cy="48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28750"/>
              </a:lnSpc>
              <a:spcBef>
                <a:spcPts val="0"/>
              </a:spcBef>
              <a:spcAft>
                <a:spcPts val="0"/>
              </a:spcAft>
              <a:buClr>
                <a:srgbClr val="E1BC69"/>
              </a:buClr>
              <a:buSzPts val="3200"/>
              <a:buFont typeface="Arial"/>
              <a:buNone/>
            </a:pPr>
            <a:r>
              <a:rPr lang="en-US" sz="3200" b="1" i="0" u="none" strike="noStrike" cap="none" dirty="0">
                <a:solidFill>
                  <a:srgbClr val="FF9933"/>
                </a:solidFill>
                <a:latin typeface="Arial"/>
                <a:ea typeface="Arial"/>
                <a:cs typeface="Arial"/>
                <a:sym typeface="Arial"/>
              </a:rPr>
              <a:t>Trabalhar de novas maneiras e desenvolver capacidades</a:t>
            </a:r>
            <a:endParaRPr sz="3200" b="1" i="0" u="none" strike="noStrike" cap="none" dirty="0">
              <a:solidFill>
                <a:srgbClr val="FF9933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9" name="Google Shape;519;p34"/>
          <p:cNvSpPr txBox="1">
            <a:spLocks noGrp="1"/>
          </p:cNvSpPr>
          <p:nvPr>
            <p:ph idx="1"/>
          </p:nvPr>
        </p:nvSpPr>
        <p:spPr>
          <a:xfrm>
            <a:off x="441998" y="995363"/>
            <a:ext cx="11169000" cy="54812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l" rtl="0">
              <a:buClr>
                <a:srgbClr val="000000"/>
              </a:buClr>
              <a:buSzPts val="2000"/>
            </a:pPr>
            <a:r>
              <a:rPr lang="en-US" sz="20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 participação no Grupo de Trabalho da DFF e o envolvimento ajudaram a chegar às autoridades que são importantes neste processo. Abriu muitas oportunidades sobre como o trabalho da CABRI pode ser ampliado.</a:t>
            </a:r>
          </a:p>
          <a:p>
            <a:pPr algn="l" rtl="0">
              <a:buClr>
                <a:srgbClr val="000000"/>
              </a:buClr>
              <a:buSzPts val="2000"/>
            </a:pPr>
            <a:r>
              <a:rPr lang="en-US" sz="20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s compromissos através das visitas distritais e da reunião das partes interessadas que tivemos revelaram a complexidade do assunto, considerando o actual sistema de gestão financeira no Malawi</a:t>
            </a:r>
          </a:p>
          <a:p>
            <a:pPr algn="l" rtl="0">
              <a:buClr>
                <a:srgbClr val="000000"/>
              </a:buClr>
              <a:buSzPts val="2000"/>
            </a:pPr>
            <a:r>
              <a:rPr lang="en-US" sz="20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 ambiente de autorização é complexo sendo uma instituição governamental. Existem muitas partes interessadas e processos a serem realizados antes que uma mudança significativa possa ser aplicada ao sistema atual.</a:t>
            </a:r>
          </a:p>
          <a:p>
            <a:pPr algn="l" rtl="0">
              <a:buClr>
                <a:srgbClr val="000000"/>
              </a:buClr>
              <a:buSzPts val="2000"/>
            </a:pPr>
            <a:r>
              <a:rPr lang="en-US" sz="20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Reunir todos os membros da equipe conforme e quando necessário é difícil devido a outras pressões de trabalho em nossas diversas áreas. No entanto, o trabalho em equipe ainda se mostra uma forma eficiente e eficaz de resolver o problema em questão. Conseguimos nos dividir para realizar diferentes tarefas e depois compartilhar as experiências.</a:t>
            </a:r>
          </a:p>
          <a:p>
            <a:pPr algn="l" rtl="0">
              <a:buClr>
                <a:srgbClr val="000000"/>
              </a:buClr>
              <a:buSzPts val="2000"/>
            </a:pPr>
            <a:r>
              <a:rPr lang="en-US" sz="20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 complexidade da reforma mostra claramente que a reforma será resolvida e implementada para além dos 12 meses do programa BPFCC. Ainda há necessidade de mais consultas e consenso sobre várias modalidades de reforma</a:t>
            </a:r>
            <a:endParaRPr sz="20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</a:pPr>
            <a:endParaRPr sz="2000" b="0" i="0" u="none" strike="noStrik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5" name="Google Shape;525;p35"/>
          <p:cNvSpPr txBox="1"/>
          <p:nvPr/>
        </p:nvSpPr>
        <p:spPr>
          <a:xfrm>
            <a:off x="5421086" y="7135586"/>
            <a:ext cx="1848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6" name="Google Shape;526;p35"/>
          <p:cNvSpPr/>
          <p:nvPr/>
        </p:nvSpPr>
        <p:spPr>
          <a:xfrm>
            <a:off x="568296" y="473796"/>
            <a:ext cx="11278489" cy="860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28750"/>
              </a:lnSpc>
              <a:spcBef>
                <a:spcPts val="0"/>
              </a:spcBef>
              <a:spcAft>
                <a:spcPts val="0"/>
              </a:spcAft>
              <a:buClr>
                <a:srgbClr val="E1BC69"/>
              </a:buClr>
              <a:buSzPts val="3200"/>
              <a:buFont typeface="Arial"/>
              <a:buNone/>
            </a:pPr>
            <a:r>
              <a:rPr lang="en-US" sz="3200" b="1" i="0" u="none" strike="noStrike" cap="none" dirty="0">
                <a:solidFill>
                  <a:srgbClr val="FF9933"/>
                </a:solidFill>
                <a:latin typeface="Arial"/>
                <a:ea typeface="Arial"/>
                <a:cs typeface="Arial"/>
                <a:sym typeface="Arial"/>
              </a:rPr>
              <a:t>Próximas etapas – 23 de novembro – abril de 2024</a:t>
            </a:r>
            <a:endParaRPr sz="3200" b="1" i="0" u="none" strike="noStrike" cap="none" dirty="0">
              <a:solidFill>
                <a:srgbClr val="FF9933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527" name="Google Shape;527;p35"/>
          <p:cNvGrpSpPr/>
          <p:nvPr/>
        </p:nvGrpSpPr>
        <p:grpSpPr>
          <a:xfrm>
            <a:off x="441998" y="1477351"/>
            <a:ext cx="11238502" cy="4399660"/>
            <a:chOff x="0" y="481987"/>
            <a:chExt cx="11238502" cy="4399660"/>
          </a:xfrm>
        </p:grpSpPr>
        <p:sp>
          <p:nvSpPr>
            <p:cNvPr id="528" name="Google Shape;528;p35"/>
            <p:cNvSpPr/>
            <p:nvPr/>
          </p:nvSpPr>
          <p:spPr>
            <a:xfrm>
              <a:off x="0" y="481987"/>
              <a:ext cx="11169000" cy="951600"/>
            </a:xfrm>
            <a:prstGeom prst="roundRect">
              <a:avLst>
                <a:gd name="adj" fmla="val 16667"/>
              </a:avLst>
            </a:prstGeom>
            <a:solidFill>
              <a:srgbClr val="4372C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9" name="Google Shape;529;p35"/>
            <p:cNvSpPr txBox="1"/>
            <p:nvPr/>
          </p:nvSpPr>
          <p:spPr>
            <a:xfrm>
              <a:off x="139004" y="539247"/>
              <a:ext cx="11076000" cy="85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06675" tIns="106675" rIns="106675" bIns="106675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</a:pPr>
              <a:r>
                <a:rPr lang="en-US" sz="2800" b="1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Roteiro para o Desenvolvimento e Implementação do DHFF</a:t>
              </a:r>
              <a:endParaRPr/>
            </a:p>
          </p:txBody>
        </p:sp>
        <p:sp>
          <p:nvSpPr>
            <p:cNvPr id="530" name="Google Shape;530;p35"/>
            <p:cNvSpPr/>
            <p:nvPr/>
          </p:nvSpPr>
          <p:spPr>
            <a:xfrm>
              <a:off x="0" y="1433512"/>
              <a:ext cx="11169000" cy="3094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1" name="Google Shape;531;p35"/>
            <p:cNvSpPr txBox="1"/>
            <p:nvPr/>
          </p:nvSpPr>
          <p:spPr>
            <a:xfrm>
              <a:off x="69502" y="1787147"/>
              <a:ext cx="11169000" cy="3094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54600" tIns="35550" rIns="199125" bIns="35550" anchor="t" anchorCtr="0">
              <a:noAutofit/>
            </a:bodyPr>
            <a:lstStyle/>
            <a:p>
              <a:pPr marL="285750" marR="0" lvl="1" indent="-28575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Char char="•"/>
              </a:pPr>
              <a:r>
                <a:rPr lang="en-US" sz="20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Desenvolva uma fórmula de alocação intra-recursos</a:t>
              </a:r>
              <a:endParaRPr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85750" marR="0" lvl="1" indent="-285750" algn="l" rtl="0">
                <a:lnSpc>
                  <a:spcPct val="90000"/>
                </a:lnSpc>
                <a:spcBef>
                  <a:spcPts val="56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Char char="•"/>
              </a:pPr>
              <a:r>
                <a:rPr lang="en-US" sz="20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Consultas com DHOs sobre a fórmula de alocação intra-recursos</a:t>
              </a:r>
              <a:endParaRPr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85750" marR="0" lvl="1" indent="-285750" algn="l" rtl="0">
                <a:lnSpc>
                  <a:spcPct val="90000"/>
                </a:lnSpc>
                <a:spcBef>
                  <a:spcPts val="56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Char char="•"/>
              </a:pPr>
              <a:r>
                <a:rPr lang="en-US" sz="20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Apresentação ao GTT de Financiamento da Saúde e ao SMT</a:t>
              </a:r>
              <a:endParaRPr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85750" marR="0" lvl="1" indent="-285750" algn="l" rtl="0">
                <a:lnSpc>
                  <a:spcPct val="90000"/>
                </a:lnSpc>
                <a:spcBef>
                  <a:spcPts val="56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Char char="•"/>
              </a:pPr>
              <a:r>
                <a:rPr lang="en-US" sz="20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Engajamento do Tesouro na Fórmula</a:t>
              </a:r>
              <a:endParaRPr sz="2000" dirty="0"/>
            </a:p>
            <a:p>
              <a:pPr marL="285750" marR="0" lvl="1" indent="-285750" algn="l" rtl="0">
                <a:lnSpc>
                  <a:spcPct val="90000"/>
                </a:lnSpc>
                <a:spcBef>
                  <a:spcPts val="56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Char char="•"/>
              </a:pPr>
              <a:r>
                <a:rPr lang="en-US" sz="20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Finalização da Fórmula</a:t>
              </a:r>
              <a:endParaRPr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85750" marR="0" lvl="1" indent="-285750" algn="l" rtl="0">
                <a:lnSpc>
                  <a:spcPct val="90000"/>
                </a:lnSpc>
                <a:spcBef>
                  <a:spcPts val="56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Char char="•"/>
              </a:pPr>
              <a:r>
                <a:rPr lang="en-US" sz="20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Piloto do DHFF em Distritos Selecionados, com início em Abril de 2024 (início do AF2024/25)</a:t>
              </a:r>
              <a:endParaRPr sz="2000" dirty="0"/>
            </a:p>
          </p:txBody>
        </p:sp>
      </p:grp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5DDEC7-49F6-D9B8-4A9B-DDA61382C7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7034" y="281225"/>
            <a:ext cx="10244974" cy="1322887"/>
          </a:xfrm>
        </p:spPr>
        <p:txBody>
          <a:bodyPr>
            <a:normAutofit/>
          </a:bodyPr>
          <a:lstStyle/>
          <a:p>
            <a:pPr algn="l" rtl="0"/>
            <a:r>
              <a:rPr lang="en-US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ões e Recomendações</a:t>
            </a:r>
            <a:endParaRPr lang="x-none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493BD3D6-7CFF-6E08-61B6-EF368C242D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37034" y="1737866"/>
            <a:ext cx="6905644" cy="4097118"/>
          </a:xfrm>
        </p:spPr>
        <p:txBody>
          <a:bodyPr>
            <a:noAutofit/>
          </a:bodyPr>
          <a:lstStyle/>
          <a:p>
            <a:pPr algn="l" rtl="0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 partir de 2024/25, os HFs terão acesso aos fundos do DFF provenientes de um conjunto de fundos de doadores no âmbito do Fundo Conjunto de Serviços de Saúde através dos Conselhos Distritais</a:t>
            </a:r>
          </a:p>
          <a:p>
            <a:pPr algn="l" rtl="0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 partir de 2024/25, o Governo introduzirá Fundos de Saúde que desembolsarão fundos para a conta do DFF. HFs receberão recursos diretamente do Tesouro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Daqui para frente,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 Ministério da Saúde trabalhará para reunir fundos de doadores e do governo a serem desembolsados ​​directamente às unidades de saúd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ara economia</a:t>
            </a:r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Ministério da Saúde defende a formação online e não a formação presencial. No entanto, a formação das estruturas a jusante continuará através do contacto físico</a:t>
            </a: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rtl="0"/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l" rtl="0">
              <a:buNone/>
            </a:pPr>
            <a:endParaRPr lang="x-none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Graphic 6" descr="Classroom">
            <a:extLst>
              <a:ext uri="{FF2B5EF4-FFF2-40B4-BE49-F238E27FC236}">
                <a16:creationId xmlns:a16="http://schemas.microsoft.com/office/drawing/2014/main" id="{176F5E38-CFC9-035C-0060-3A74253C40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95981" y="1990229"/>
            <a:ext cx="2906973" cy="2906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25389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6" name="Google Shape;426;p23"/>
          <p:cNvSpPr txBox="1"/>
          <p:nvPr/>
        </p:nvSpPr>
        <p:spPr>
          <a:xfrm>
            <a:off x="5421086" y="7135586"/>
            <a:ext cx="1848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7" name="Google Shape;427;p23"/>
          <p:cNvSpPr/>
          <p:nvPr/>
        </p:nvSpPr>
        <p:spPr>
          <a:xfrm>
            <a:off x="441999" y="44686"/>
            <a:ext cx="5782500" cy="48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28750"/>
              </a:lnSpc>
              <a:spcBef>
                <a:spcPts val="0"/>
              </a:spcBef>
              <a:spcAft>
                <a:spcPts val="0"/>
              </a:spcAft>
              <a:buClr>
                <a:srgbClr val="E1BC69"/>
              </a:buClr>
              <a:buSzPts val="3200"/>
              <a:buFont typeface="Arial"/>
              <a:buNone/>
            </a:pPr>
            <a:r>
              <a:rPr lang="en-US" sz="3200" b="1" i="0" u="none" strike="noStrike" cap="none" dirty="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Declaração do problema</a:t>
            </a:r>
            <a:endParaRPr dirty="0">
              <a:solidFill>
                <a:schemeClr val="accent2"/>
              </a:solidFill>
            </a:endParaRPr>
          </a:p>
        </p:txBody>
      </p:sp>
      <p:sp>
        <p:nvSpPr>
          <p:cNvPr id="428" name="Google Shape;428;p23"/>
          <p:cNvSpPr txBox="1">
            <a:spLocks noGrp="1"/>
          </p:cNvSpPr>
          <p:nvPr>
            <p:ph idx="1"/>
          </p:nvPr>
        </p:nvSpPr>
        <p:spPr>
          <a:xfrm>
            <a:off x="170297" y="1081502"/>
            <a:ext cx="6115200" cy="522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None/>
            </a:pPr>
            <a:r>
              <a:rPr lang="en-US" sz="20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justo e limitado</a:t>
            </a:r>
            <a:r>
              <a:rPr lang="en-US" sz="2000" b="1" i="0" u="none" strike="noStrik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recursos financeiros chegando às unidades de saúde primária (1)</a:t>
            </a:r>
            <a:r>
              <a:rPr lang="en-US" sz="20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dirty="0"/>
          </a:p>
          <a:p>
            <a:pPr marL="2286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000"/>
              <a:buChar char="•"/>
            </a:pPr>
            <a:r>
              <a:rPr lang="en-US" sz="20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</a:t>
            </a:r>
            <a:r>
              <a:rPr lang="en-US" sz="2000" b="0" i="0" u="none" strike="noStrik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s unidades de saúde primárias (2) não recebem fundos (3) directamente do nível distrital ou central, mas recebem recursos em espécie dos distritos, mediante pedido ao nível distrital.</a:t>
            </a:r>
            <a:endParaRPr dirty="0"/>
          </a:p>
          <a:p>
            <a:pPr marL="2286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000"/>
              <a:buChar char="•"/>
            </a:pPr>
            <a:r>
              <a:rPr lang="en-US" sz="2000" b="0" i="0" u="none" strike="noStrik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 acordo actual limita a autonomia das instalações para planear e prever as suas necessidades, orçamentar, executar financiamento e monitorizar despesas.</a:t>
            </a:r>
            <a:endParaRPr dirty="0"/>
          </a:p>
        </p:txBody>
      </p:sp>
      <p:pic>
        <p:nvPicPr>
          <p:cNvPr id="429" name="Google Shape;429;p23"/>
          <p:cNvPicPr preferRelativeResize="0"/>
          <p:nvPr/>
        </p:nvPicPr>
        <p:blipFill rotWithShape="1">
          <a:blip r:embed="rId3">
            <a:alphaModFix/>
          </a:blip>
          <a:srcRect b="21433"/>
          <a:stretch/>
        </p:blipFill>
        <p:spPr>
          <a:xfrm>
            <a:off x="6566335" y="-1756"/>
            <a:ext cx="5612525" cy="6859756"/>
          </a:xfrm>
          <a:prstGeom prst="rect">
            <a:avLst/>
          </a:prstGeom>
          <a:noFill/>
          <a:ln>
            <a:noFill/>
          </a:ln>
        </p:spPr>
      </p:pic>
      <p:sp>
        <p:nvSpPr>
          <p:cNvPr id="430" name="Google Shape;430;p23"/>
          <p:cNvSpPr txBox="1"/>
          <p:nvPr/>
        </p:nvSpPr>
        <p:spPr>
          <a:xfrm flipH="1">
            <a:off x="285599" y="4539794"/>
            <a:ext cx="6115200" cy="175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514350" marR="0" lvl="0" indent="-514350" algn="l" rtl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AutoNum type="arabicParenBoth"/>
            </a:pPr>
            <a:r>
              <a:rPr lang="en-US"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 relevância e importância do problema foram validadas através de compromissos mantidos pela equipa com 3 Responsáveis ​​Distritais de Saúde (DHO). Não há documentação adequada ou manutenção de registros em nível distrital ou de unidade de saúde sobre o valor do apoio em espécie ou em dinheiro dado às unidades de saúde</a:t>
            </a:r>
            <a:endParaRPr/>
          </a:p>
          <a:p>
            <a:pPr marL="514350" marR="0" lvl="0" indent="-514350" algn="l" rtl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AutoNum type="arabicParenBoth"/>
            </a:pPr>
            <a:r>
              <a:rPr lang="en-US"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s instalações de foco principal são centros de saúde</a:t>
            </a:r>
            <a:endParaRPr/>
          </a:p>
          <a:p>
            <a:pPr marL="514350" marR="0" lvl="0" indent="-514350" algn="l" rtl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Arial"/>
              <a:buAutoNum type="arabicParenBoth"/>
            </a:pPr>
            <a:r>
              <a:rPr lang="en-US"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sta atribuição centra-se principalmente em outros fundos de transacções recorrentes (ORT) para os distritos e não inclui financiamento para medicamentos e emolumentos de pessoal (PE).</a:t>
            </a:r>
            <a:endParaRPr/>
          </a:p>
          <a:p>
            <a:pPr marL="228600" marR="0" lvl="0" indent="-15240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4" name="Google Shape;604;p37"/>
          <p:cNvPicPr preferRelativeResize="0"/>
          <p:nvPr/>
        </p:nvPicPr>
        <p:blipFill rotWithShape="1">
          <a:blip r:embed="rId3">
            <a:alphaModFix/>
          </a:blip>
          <a:srcRect r="7535"/>
          <a:stretch/>
        </p:blipFill>
        <p:spPr>
          <a:xfrm>
            <a:off x="-1" y="0"/>
            <a:ext cx="12198096" cy="6872353"/>
          </a:xfrm>
          <a:prstGeom prst="rect">
            <a:avLst/>
          </a:prstGeom>
          <a:noFill/>
          <a:ln>
            <a:noFill/>
          </a:ln>
        </p:spPr>
      </p:pic>
      <p:sp>
        <p:nvSpPr>
          <p:cNvPr id="605" name="Google Shape;605;p37"/>
          <p:cNvSpPr txBox="1"/>
          <p:nvPr/>
        </p:nvSpPr>
        <p:spPr>
          <a:xfrm>
            <a:off x="8043651" y="2040945"/>
            <a:ext cx="4154400" cy="26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400"/>
              <a:buFont typeface="Arial"/>
              <a:buNone/>
            </a:pPr>
            <a:r>
              <a:rPr lang="en-US" sz="5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Obrigado.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400"/>
              <a:buFont typeface="Arial"/>
              <a:buNone/>
            </a:pPr>
            <a:r>
              <a:rPr lang="en-US" sz="5400" b="1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Reflexões.</a:t>
            </a:r>
            <a:endParaRPr/>
          </a:p>
        </p:txBody>
      </p:sp>
      <p:sp>
        <p:nvSpPr>
          <p:cNvPr id="606" name="Google Shape;606;p37"/>
          <p:cNvSpPr txBox="1"/>
          <p:nvPr/>
        </p:nvSpPr>
        <p:spPr>
          <a:xfrm rot="-5400000">
            <a:off x="-971615" y="4628102"/>
            <a:ext cx="2324100" cy="23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</a:pPr>
            <a:r>
              <a:rPr lang="en-US"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© UNICEF/UN01234567/Fotógrafo</a:t>
            </a:r>
            <a:endParaRPr/>
          </a:p>
        </p:txBody>
      </p:sp>
      <p:pic>
        <p:nvPicPr>
          <p:cNvPr id="607" name="Google Shape;607;p37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543619" y="293"/>
            <a:ext cx="1645920" cy="164592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6" name="Google Shape;536;p36"/>
          <p:cNvSpPr txBox="1">
            <a:spLocks noGrp="1"/>
          </p:cNvSpPr>
          <p:nvPr>
            <p:ph type="title"/>
          </p:nvPr>
        </p:nvSpPr>
        <p:spPr>
          <a:xfrm>
            <a:off x="772111" y="201640"/>
            <a:ext cx="11340000" cy="5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F0"/>
              </a:buClr>
              <a:buSzPct val="100000"/>
              <a:buFont typeface="Arial"/>
              <a:buNone/>
            </a:pPr>
            <a:r>
              <a:rPr lang="en-US" b="1">
                <a:solidFill>
                  <a:srgbClr val="00B0F0"/>
                </a:solidFill>
              </a:rPr>
              <a:t>Progresso desde o Workshop de Estruturas</a:t>
            </a:r>
            <a:endParaRPr/>
          </a:p>
        </p:txBody>
      </p:sp>
      <p:grpSp>
        <p:nvGrpSpPr>
          <p:cNvPr id="537" name="Google Shape;537;p36" title="Timeline"/>
          <p:cNvGrpSpPr/>
          <p:nvPr/>
        </p:nvGrpSpPr>
        <p:grpSpPr>
          <a:xfrm>
            <a:off x="474877" y="3333597"/>
            <a:ext cx="11214600" cy="165600"/>
            <a:chOff x="418011" y="3346265"/>
            <a:chExt cx="11214600" cy="165600"/>
          </a:xfrm>
        </p:grpSpPr>
        <p:cxnSp>
          <p:nvCxnSpPr>
            <p:cNvPr id="538" name="Google Shape;538;p36"/>
            <p:cNvCxnSpPr/>
            <p:nvPr/>
          </p:nvCxnSpPr>
          <p:spPr>
            <a:xfrm>
              <a:off x="418011" y="3429000"/>
              <a:ext cx="11214600" cy="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solid"/>
              <a:miter lim="800000"/>
              <a:headEnd type="none" w="sm" len="sm"/>
              <a:tailEnd type="triangle" w="med" len="med"/>
            </a:ln>
          </p:spPr>
        </p:cxnSp>
        <p:cxnSp>
          <p:nvCxnSpPr>
            <p:cNvPr id="539" name="Google Shape;539;p36"/>
            <p:cNvCxnSpPr/>
            <p:nvPr/>
          </p:nvCxnSpPr>
          <p:spPr>
            <a:xfrm>
              <a:off x="1067476" y="3346265"/>
              <a:ext cx="0" cy="16560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cxnSp>
          <p:nvCxnSpPr>
            <p:cNvPr id="540" name="Google Shape;540;p36"/>
            <p:cNvCxnSpPr/>
            <p:nvPr/>
          </p:nvCxnSpPr>
          <p:spPr>
            <a:xfrm>
              <a:off x="1714868" y="3346265"/>
              <a:ext cx="0" cy="16560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cxnSp>
          <p:nvCxnSpPr>
            <p:cNvPr id="541" name="Google Shape;541;p36"/>
            <p:cNvCxnSpPr/>
            <p:nvPr/>
          </p:nvCxnSpPr>
          <p:spPr>
            <a:xfrm>
              <a:off x="2362260" y="3346265"/>
              <a:ext cx="0" cy="16560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cxnSp>
          <p:nvCxnSpPr>
            <p:cNvPr id="542" name="Google Shape;542;p36"/>
            <p:cNvCxnSpPr/>
            <p:nvPr/>
          </p:nvCxnSpPr>
          <p:spPr>
            <a:xfrm>
              <a:off x="3009652" y="3346265"/>
              <a:ext cx="0" cy="16560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cxnSp>
          <p:nvCxnSpPr>
            <p:cNvPr id="543" name="Google Shape;543;p36"/>
            <p:cNvCxnSpPr/>
            <p:nvPr/>
          </p:nvCxnSpPr>
          <p:spPr>
            <a:xfrm>
              <a:off x="3657044" y="3346265"/>
              <a:ext cx="0" cy="16560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cxnSp>
          <p:nvCxnSpPr>
            <p:cNvPr id="544" name="Google Shape;544;p36"/>
            <p:cNvCxnSpPr/>
            <p:nvPr/>
          </p:nvCxnSpPr>
          <p:spPr>
            <a:xfrm>
              <a:off x="4304436" y="3346265"/>
              <a:ext cx="0" cy="16560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cxnSp>
          <p:nvCxnSpPr>
            <p:cNvPr id="545" name="Google Shape;545;p36"/>
            <p:cNvCxnSpPr/>
            <p:nvPr/>
          </p:nvCxnSpPr>
          <p:spPr>
            <a:xfrm>
              <a:off x="4951828" y="3346265"/>
              <a:ext cx="0" cy="16560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cxnSp>
          <p:nvCxnSpPr>
            <p:cNvPr id="546" name="Google Shape;546;p36"/>
            <p:cNvCxnSpPr/>
            <p:nvPr/>
          </p:nvCxnSpPr>
          <p:spPr>
            <a:xfrm>
              <a:off x="5599220" y="3346265"/>
              <a:ext cx="0" cy="16560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cxnSp>
          <p:nvCxnSpPr>
            <p:cNvPr id="547" name="Google Shape;547;p36"/>
            <p:cNvCxnSpPr/>
            <p:nvPr/>
          </p:nvCxnSpPr>
          <p:spPr>
            <a:xfrm>
              <a:off x="6246612" y="3346265"/>
              <a:ext cx="0" cy="16560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cxnSp>
          <p:nvCxnSpPr>
            <p:cNvPr id="548" name="Google Shape;548;p36"/>
            <p:cNvCxnSpPr/>
            <p:nvPr/>
          </p:nvCxnSpPr>
          <p:spPr>
            <a:xfrm>
              <a:off x="6894004" y="3346265"/>
              <a:ext cx="0" cy="16560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cxnSp>
          <p:nvCxnSpPr>
            <p:cNvPr id="549" name="Google Shape;549;p36"/>
            <p:cNvCxnSpPr/>
            <p:nvPr/>
          </p:nvCxnSpPr>
          <p:spPr>
            <a:xfrm>
              <a:off x="7541396" y="3346265"/>
              <a:ext cx="0" cy="16560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cxnSp>
          <p:nvCxnSpPr>
            <p:cNvPr id="550" name="Google Shape;550;p36"/>
            <p:cNvCxnSpPr/>
            <p:nvPr/>
          </p:nvCxnSpPr>
          <p:spPr>
            <a:xfrm>
              <a:off x="8188788" y="3346265"/>
              <a:ext cx="0" cy="16560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cxnSp>
          <p:nvCxnSpPr>
            <p:cNvPr id="551" name="Google Shape;551;p36"/>
            <p:cNvCxnSpPr/>
            <p:nvPr/>
          </p:nvCxnSpPr>
          <p:spPr>
            <a:xfrm>
              <a:off x="8836180" y="3346265"/>
              <a:ext cx="0" cy="16560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cxnSp>
          <p:nvCxnSpPr>
            <p:cNvPr id="552" name="Google Shape;552;p36"/>
            <p:cNvCxnSpPr/>
            <p:nvPr/>
          </p:nvCxnSpPr>
          <p:spPr>
            <a:xfrm>
              <a:off x="9483572" y="3346265"/>
              <a:ext cx="0" cy="16560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cxnSp>
          <p:nvCxnSpPr>
            <p:cNvPr id="553" name="Google Shape;553;p36"/>
            <p:cNvCxnSpPr/>
            <p:nvPr/>
          </p:nvCxnSpPr>
          <p:spPr>
            <a:xfrm>
              <a:off x="10130964" y="3346265"/>
              <a:ext cx="0" cy="16560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  <p:cxnSp>
          <p:nvCxnSpPr>
            <p:cNvPr id="554" name="Google Shape;554;p36"/>
            <p:cNvCxnSpPr/>
            <p:nvPr/>
          </p:nvCxnSpPr>
          <p:spPr>
            <a:xfrm>
              <a:off x="10778356" y="3346265"/>
              <a:ext cx="0" cy="165600"/>
            </a:xfrm>
            <a:prstGeom prst="straightConnector1">
              <a:avLst/>
            </a:prstGeom>
            <a:noFill/>
            <a:ln w="9525" cap="flat" cmpd="sng">
              <a:solidFill>
                <a:schemeClr val="dk1"/>
              </a:solidFill>
              <a:prstDash val="dash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555" name="Google Shape;555;p36" title="Timeline Arrow"/>
          <p:cNvSpPr/>
          <p:nvPr/>
        </p:nvSpPr>
        <p:spPr>
          <a:xfrm>
            <a:off x="1089627" y="2768559"/>
            <a:ext cx="1329600" cy="651000"/>
          </a:xfrm>
          <a:prstGeom prst="uturnArrow">
            <a:avLst>
              <a:gd name="adj1" fmla="val 37244"/>
              <a:gd name="adj2" fmla="val 18622"/>
              <a:gd name="adj3" fmla="val 20252"/>
              <a:gd name="adj4" fmla="val 52602"/>
              <a:gd name="adj5" fmla="val 96832"/>
            </a:avLst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556" name="Google Shape;556;p36" title="Duration Text"/>
          <p:cNvSpPr txBox="1"/>
          <p:nvPr/>
        </p:nvSpPr>
        <p:spPr>
          <a:xfrm>
            <a:off x="1188501" y="2611071"/>
            <a:ext cx="12723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000"/>
              <a:buFont typeface="Trebuchet MS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Fevereiro de 2023</a:t>
            </a:r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557" name="Google Shape;557;p36" title="Connecter Line"/>
          <p:cNvCxnSpPr/>
          <p:nvPr/>
        </p:nvCxnSpPr>
        <p:spPr>
          <a:xfrm>
            <a:off x="1625033" y="2040453"/>
            <a:ext cx="0" cy="50190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oval" w="med" len="med"/>
            <a:tailEnd type="oval" w="med" len="med"/>
          </a:ln>
        </p:spPr>
      </p:cxnSp>
      <p:grpSp>
        <p:nvGrpSpPr>
          <p:cNvPr id="558" name="Google Shape;558;p36" title="Item Text"/>
          <p:cNvGrpSpPr/>
          <p:nvPr/>
        </p:nvGrpSpPr>
        <p:grpSpPr>
          <a:xfrm>
            <a:off x="430519" y="956304"/>
            <a:ext cx="3164398" cy="704721"/>
            <a:chOff x="605757" y="1272197"/>
            <a:chExt cx="3164398" cy="704721"/>
          </a:xfrm>
        </p:grpSpPr>
        <p:sp>
          <p:nvSpPr>
            <p:cNvPr id="559" name="Google Shape;559;p36"/>
            <p:cNvSpPr txBox="1"/>
            <p:nvPr/>
          </p:nvSpPr>
          <p:spPr>
            <a:xfrm>
              <a:off x="605757" y="1272197"/>
              <a:ext cx="2735700" cy="2154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1BC69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>
                  <a:ln>
                    <a:noFill/>
                  </a:ln>
                  <a:solidFill>
                    <a:srgbClr val="E1BC69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2. Oficina de enquadramento</a:t>
              </a: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560" name="Google Shape;560;p36"/>
            <p:cNvSpPr txBox="1"/>
            <p:nvPr/>
          </p:nvSpPr>
          <p:spPr>
            <a:xfrm>
              <a:off x="1225855" y="1576808"/>
              <a:ext cx="2544300" cy="40011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171450" marR="0" lvl="0" indent="-1460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white"/>
                </a:buClr>
                <a:buSzPts val="400"/>
                <a:buFont typeface="Arial"/>
                <a:buNone/>
                <a:tabLst/>
                <a:defRPr/>
              </a:pPr>
              <a:endParaRPr kumimoji="0" sz="2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000"/>
                <a:buFont typeface="Arial"/>
                <a:buChar char="•"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Refinamos nossa declaração de problema e identificamos ideias para ação</a:t>
              </a: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000"/>
                <a:buFont typeface="Arial"/>
                <a:buChar char="•"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Maior sensibilização da Equipa do Malawi do PDIA</a:t>
              </a:r>
              <a:endParaRPr kumimoji="0" sz="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61" name="Google Shape;561;p36" title="Timeline Arrow"/>
          <p:cNvSpPr/>
          <p:nvPr/>
        </p:nvSpPr>
        <p:spPr>
          <a:xfrm rot="10800000" flipH="1">
            <a:off x="2204181" y="3456654"/>
            <a:ext cx="1650300" cy="483600"/>
          </a:xfrm>
          <a:prstGeom prst="uturnArrow">
            <a:avLst>
              <a:gd name="adj1" fmla="val 37244"/>
              <a:gd name="adj2" fmla="val 18622"/>
              <a:gd name="adj3" fmla="val 20252"/>
              <a:gd name="adj4" fmla="val 52602"/>
              <a:gd name="adj5" fmla="val 96832"/>
            </a:avLst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562" name="Google Shape;562;p36" title="Duration Text"/>
          <p:cNvSpPr txBox="1"/>
          <p:nvPr/>
        </p:nvSpPr>
        <p:spPr>
          <a:xfrm>
            <a:off x="2205140" y="4069897"/>
            <a:ext cx="12723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000"/>
              <a:buFont typeface="Trebuchet MS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Meados de março de 2023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563" name="Google Shape;563;p36" title="Connecter Line"/>
          <p:cNvCxnSpPr/>
          <p:nvPr/>
        </p:nvCxnSpPr>
        <p:spPr>
          <a:xfrm>
            <a:off x="2672461" y="4336223"/>
            <a:ext cx="0" cy="26130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oval" w="med" len="med"/>
            <a:tailEnd type="oval" w="med" len="med"/>
          </a:ln>
        </p:spPr>
      </p:cxnSp>
      <p:grpSp>
        <p:nvGrpSpPr>
          <p:cNvPr id="564" name="Google Shape;564;p36" title="Item Text"/>
          <p:cNvGrpSpPr/>
          <p:nvPr/>
        </p:nvGrpSpPr>
        <p:grpSpPr>
          <a:xfrm>
            <a:off x="1461388" y="4765674"/>
            <a:ext cx="2350028" cy="1276774"/>
            <a:chOff x="2128111" y="4930774"/>
            <a:chExt cx="2350028" cy="519965"/>
          </a:xfrm>
        </p:grpSpPr>
        <p:sp>
          <p:nvSpPr>
            <p:cNvPr id="565" name="Google Shape;565;p36"/>
            <p:cNvSpPr txBox="1"/>
            <p:nvPr/>
          </p:nvSpPr>
          <p:spPr>
            <a:xfrm>
              <a:off x="2128111" y="4930774"/>
              <a:ext cx="2262900" cy="26321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1BC69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>
                  <a:ln>
                    <a:noFill/>
                  </a:ln>
                  <a:solidFill>
                    <a:srgbClr val="E1BC69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3. Missão de definição do escopo para Lilongwe DHO</a:t>
              </a: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566" name="Google Shape;566;p36"/>
            <p:cNvSpPr txBox="1"/>
            <p:nvPr/>
          </p:nvSpPr>
          <p:spPr>
            <a:xfrm>
              <a:off x="2392839" y="5200056"/>
              <a:ext cx="2085300" cy="25068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000"/>
                <a:buFont typeface="Arial"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Conduziu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uma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missão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de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delimitação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do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âmbito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ao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Oficial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de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Saúde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do Distrito de Lilongwe, para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recolher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mais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informações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e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evidências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para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substanciar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a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relevância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da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declaração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do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problema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e a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sua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importância</a:t>
              </a:r>
              <a:endPara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67" name="Google Shape;567;p36" title="Timeline Arrow"/>
          <p:cNvSpPr/>
          <p:nvPr/>
        </p:nvSpPr>
        <p:spPr>
          <a:xfrm rot="10800000" flipH="1">
            <a:off x="4253549" y="3448757"/>
            <a:ext cx="1483200" cy="580500"/>
          </a:xfrm>
          <a:prstGeom prst="uturnArrow">
            <a:avLst>
              <a:gd name="adj1" fmla="val 27292"/>
              <a:gd name="adj2" fmla="val 13691"/>
              <a:gd name="adj3" fmla="val 20519"/>
              <a:gd name="adj4" fmla="val 48029"/>
              <a:gd name="adj5" fmla="val 96832"/>
            </a:avLst>
          </a:prstGeom>
          <a:solidFill>
            <a:srgbClr val="E1BC6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568" name="Google Shape;568;p36" title="Timeline Arrow"/>
          <p:cNvSpPr/>
          <p:nvPr/>
        </p:nvSpPr>
        <p:spPr>
          <a:xfrm>
            <a:off x="4163884" y="2751659"/>
            <a:ext cx="3351000" cy="623400"/>
          </a:xfrm>
          <a:prstGeom prst="uturnArrow">
            <a:avLst>
              <a:gd name="adj1" fmla="val 37244"/>
              <a:gd name="adj2" fmla="val 18622"/>
              <a:gd name="adj3" fmla="val 20252"/>
              <a:gd name="adj4" fmla="val 52602"/>
              <a:gd name="adj5" fmla="val 100000"/>
            </a:avLst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569" name="Google Shape;569;p36" title="Duration Text"/>
          <p:cNvSpPr txBox="1"/>
          <p:nvPr/>
        </p:nvSpPr>
        <p:spPr>
          <a:xfrm>
            <a:off x="5100631" y="2578508"/>
            <a:ext cx="12723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000"/>
              <a:buFont typeface="Trebuchet MS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27 a 28 de março de 2023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570" name="Google Shape;570;p36" title="Connecter Line"/>
          <p:cNvCxnSpPr/>
          <p:nvPr/>
        </p:nvCxnSpPr>
        <p:spPr>
          <a:xfrm>
            <a:off x="5185644" y="2467849"/>
            <a:ext cx="0" cy="43410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oval" w="med" len="med"/>
            <a:tailEnd type="oval" w="med" len="med"/>
          </a:ln>
        </p:spPr>
      </p:cxnSp>
      <p:grpSp>
        <p:nvGrpSpPr>
          <p:cNvPr id="571" name="Google Shape;571;p36" title="Item Text"/>
          <p:cNvGrpSpPr/>
          <p:nvPr/>
        </p:nvGrpSpPr>
        <p:grpSpPr>
          <a:xfrm>
            <a:off x="4264454" y="806932"/>
            <a:ext cx="3422124" cy="1506649"/>
            <a:chOff x="5102954" y="1303454"/>
            <a:chExt cx="2644200" cy="1506649"/>
          </a:xfrm>
        </p:grpSpPr>
        <p:sp>
          <p:nvSpPr>
            <p:cNvPr id="572" name="Google Shape;572;p36"/>
            <p:cNvSpPr txBox="1"/>
            <p:nvPr/>
          </p:nvSpPr>
          <p:spPr>
            <a:xfrm>
              <a:off x="5102954" y="1303454"/>
              <a:ext cx="2644200" cy="18466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1BC69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E1BC69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4. Fórum Regional de Financiamento dos CPS</a:t>
              </a:r>
              <a:endParaRPr kumimoji="0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573" name="Google Shape;573;p36"/>
            <p:cNvSpPr txBox="1"/>
            <p:nvPr/>
          </p:nvSpPr>
          <p:spPr>
            <a:xfrm>
              <a:off x="5256680" y="1578997"/>
              <a:ext cx="2046300" cy="123110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000"/>
                <a:buFont typeface="Arial"/>
                <a:buChar char="•"/>
                <a:tabLst/>
                <a:defRPr/>
              </a:pP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Dois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dos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Membros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da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Equipa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participaram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num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Fórum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Regional de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Financiamento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dos CSP que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discutiu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o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desafio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da GFP no Malawi</a:t>
              </a:r>
              <a:endParaRPr kumimoji="0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000"/>
                <a:buFont typeface="Arial"/>
                <a:buChar char="•"/>
                <a:tabLst/>
                <a:defRPr/>
              </a:pP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Pontos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de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aprendizagem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de pares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regionais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(Uganda e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Tanzânia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)</a:t>
              </a:r>
              <a:endParaRPr kumimoji="0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000"/>
                <a:buFont typeface="Arial"/>
                <a:buChar char="•"/>
                <a:tabLst/>
                <a:defRPr/>
              </a:pP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Ajudou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a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contextualizar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o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desafio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identificado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da GFP e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sugeriu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ideias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no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quadro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das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reformas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de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financiamento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dos CSP que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estão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a ser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levadas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a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cabo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pelo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 Malawi</a:t>
              </a:r>
              <a:endPara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white"/>
                </a:buClr>
                <a:buSzPts val="1000"/>
                <a:buFont typeface="Arial"/>
                <a:buNone/>
                <a:tabLst/>
                <a:defRPr/>
              </a:pPr>
              <a:endPara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74" name="Google Shape;574;p36" title="Duration Text"/>
          <p:cNvSpPr txBox="1"/>
          <p:nvPr/>
        </p:nvSpPr>
        <p:spPr>
          <a:xfrm>
            <a:off x="10142155" y="2608013"/>
            <a:ext cx="12723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000"/>
              <a:buFont typeface="Trebuchet MS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Julho de 2023+ 🡪</a:t>
            </a:r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Trebuchet MS"/>
              <a:ea typeface="Trebuchet MS"/>
              <a:cs typeface="Trebuchet MS"/>
              <a:sym typeface="Trebuchet MS"/>
            </a:endParaRPr>
          </a:p>
        </p:txBody>
      </p:sp>
      <p:cxnSp>
        <p:nvCxnSpPr>
          <p:cNvPr id="575" name="Google Shape;575;p36" title="Connecter Line"/>
          <p:cNvCxnSpPr/>
          <p:nvPr/>
        </p:nvCxnSpPr>
        <p:spPr>
          <a:xfrm>
            <a:off x="10774468" y="2291364"/>
            <a:ext cx="0" cy="227100"/>
          </a:xfrm>
          <a:prstGeom prst="straightConnector1">
            <a:avLst/>
          </a:prstGeom>
          <a:noFill/>
          <a:ln w="9525" cap="flat" cmpd="sng">
            <a:solidFill>
              <a:srgbClr val="FEFEFE"/>
            </a:solidFill>
            <a:prstDash val="solid"/>
            <a:miter lim="800000"/>
            <a:headEnd type="oval" w="med" len="med"/>
            <a:tailEnd type="oval" w="med" len="med"/>
          </a:ln>
        </p:spPr>
      </p:cxnSp>
      <p:grpSp>
        <p:nvGrpSpPr>
          <p:cNvPr id="576" name="Google Shape;576;p36" title="Item Text"/>
          <p:cNvGrpSpPr/>
          <p:nvPr/>
        </p:nvGrpSpPr>
        <p:grpSpPr>
          <a:xfrm>
            <a:off x="9035671" y="1190830"/>
            <a:ext cx="2805085" cy="745339"/>
            <a:chOff x="9010987" y="1252776"/>
            <a:chExt cx="2533723" cy="745339"/>
          </a:xfrm>
        </p:grpSpPr>
        <p:sp>
          <p:nvSpPr>
            <p:cNvPr id="577" name="Google Shape;577;p36"/>
            <p:cNvSpPr txBox="1"/>
            <p:nvPr/>
          </p:nvSpPr>
          <p:spPr>
            <a:xfrm>
              <a:off x="9010987" y="1252776"/>
              <a:ext cx="2533500" cy="554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1BC69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E1BC69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6. Implementação do Plano de Acção</a:t>
              </a: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578" name="Google Shape;578;p36"/>
            <p:cNvSpPr txBox="1"/>
            <p:nvPr/>
          </p:nvSpPr>
          <p:spPr>
            <a:xfrm>
              <a:off x="9113810" y="1555031"/>
              <a:ext cx="2430900" cy="153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white"/>
                </a:buClr>
                <a:buSzPts val="1000"/>
                <a:buFont typeface="Arial"/>
                <a:buNone/>
                <a:tabLst/>
                <a:defRPr/>
              </a:pPr>
              <a:endParaRPr kumimoji="0" sz="1000" b="1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79" name="Google Shape;579;p36"/>
            <p:cNvSpPr txBox="1"/>
            <p:nvPr/>
          </p:nvSpPr>
          <p:spPr>
            <a:xfrm>
              <a:off x="9520452" y="1762315"/>
              <a:ext cx="1767900" cy="235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white"/>
                </a:buClr>
                <a:buSzPts val="1000"/>
                <a:buFont typeface="Arial"/>
                <a:buNone/>
                <a:tabLst/>
                <a:defRPr/>
              </a:pPr>
              <a:endParaRPr kumimoji="0" sz="1000" b="1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cxnSp>
        <p:nvCxnSpPr>
          <p:cNvPr id="580" name="Google Shape;580;p36" title="Connecter Line"/>
          <p:cNvCxnSpPr/>
          <p:nvPr/>
        </p:nvCxnSpPr>
        <p:spPr>
          <a:xfrm>
            <a:off x="7954507" y="3429000"/>
            <a:ext cx="0" cy="1123500"/>
          </a:xfrm>
          <a:prstGeom prst="straightConnector1">
            <a:avLst/>
          </a:prstGeom>
          <a:noFill/>
          <a:ln w="9525" cap="flat" cmpd="sng">
            <a:solidFill>
              <a:srgbClr val="FEFEFE"/>
            </a:solidFill>
            <a:prstDash val="solid"/>
            <a:miter lim="800000"/>
            <a:headEnd type="oval" w="med" len="med"/>
            <a:tailEnd type="oval" w="med" len="med"/>
          </a:ln>
        </p:spPr>
      </p:cxnSp>
      <p:grpSp>
        <p:nvGrpSpPr>
          <p:cNvPr id="581" name="Google Shape;581;p36" title="Launch Graphic"/>
          <p:cNvGrpSpPr/>
          <p:nvPr/>
        </p:nvGrpSpPr>
        <p:grpSpPr>
          <a:xfrm>
            <a:off x="7566673" y="4359675"/>
            <a:ext cx="653796" cy="626989"/>
            <a:chOff x="10961301" y="3355525"/>
            <a:chExt cx="680400" cy="680400"/>
          </a:xfrm>
        </p:grpSpPr>
        <p:sp>
          <p:nvSpPr>
            <p:cNvPr id="582" name="Google Shape;582;p36" title="Launch Circle"/>
            <p:cNvSpPr/>
            <p:nvPr/>
          </p:nvSpPr>
          <p:spPr>
            <a:xfrm>
              <a:off x="10961301" y="3355525"/>
              <a:ext cx="680400" cy="6804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white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pic>
          <p:nvPicPr>
            <p:cNvPr id="583" name="Google Shape;583;p36" title="Launch Icon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11202868" y="3548145"/>
              <a:ext cx="235505" cy="315487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584" name="Google Shape;584;p36" title="Item Text"/>
          <p:cNvGrpSpPr/>
          <p:nvPr/>
        </p:nvGrpSpPr>
        <p:grpSpPr>
          <a:xfrm>
            <a:off x="5531560" y="5051172"/>
            <a:ext cx="3503803" cy="1560318"/>
            <a:chOff x="10179691" y="4989638"/>
            <a:chExt cx="2730945" cy="1013522"/>
          </a:xfrm>
        </p:grpSpPr>
        <p:sp>
          <p:nvSpPr>
            <p:cNvPr id="585" name="Google Shape;585;p36"/>
            <p:cNvSpPr txBox="1"/>
            <p:nvPr/>
          </p:nvSpPr>
          <p:spPr>
            <a:xfrm>
              <a:off x="10179691" y="4989638"/>
              <a:ext cx="2483400" cy="31987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1BC69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E1BC69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5. Reunião Nacional de Consulta das Partes Interessadas</a:t>
              </a:r>
              <a:endParaRPr kumimoji="0" sz="1600" b="1" i="0" u="none" strike="noStrike" kern="0" cap="none" spc="0" normalizeH="0" baseline="0" noProof="0">
                <a:ln>
                  <a:noFill/>
                </a:ln>
                <a:solidFill>
                  <a:srgbClr val="E1BC69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6" name="Google Shape;586;p36"/>
            <p:cNvSpPr txBox="1"/>
            <p:nvPr/>
          </p:nvSpPr>
          <p:spPr>
            <a:xfrm>
              <a:off x="10427236" y="5373413"/>
              <a:ext cx="2483400" cy="62974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000"/>
                <a:buFont typeface="Arial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Apresentou a declaração do problema e propôs soluções às principais partes interessadas (MF, LGAs, PDs – UNICEF, FCDO, CHAI; OSCs)</a:t>
              </a: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000"/>
                <a:buFont typeface="Arial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Desafio de GFP validado, problema e sua relevância reforçados</a:t>
              </a: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F3F3F"/>
                </a:buClr>
                <a:buSzPts val="1000"/>
                <a:buFont typeface="Arial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Feedback usado para fortalecer ideias para ação e refinar os próximos passos importantes</a:t>
              </a: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7" name="Google Shape;587;p36"/>
            <p:cNvSpPr txBox="1"/>
            <p:nvPr/>
          </p:nvSpPr>
          <p:spPr>
            <a:xfrm>
              <a:off x="10574351" y="5435653"/>
              <a:ext cx="1767900" cy="2358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white"/>
                </a:buClr>
                <a:buSzPts val="1000"/>
                <a:buFont typeface="Arial"/>
                <a:buNone/>
                <a:tabLst/>
                <a:defRPr/>
              </a:pPr>
              <a:endParaRPr kumimoji="0" sz="9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88" name="Google Shape;588;p36"/>
          <p:cNvSpPr txBox="1"/>
          <p:nvPr/>
        </p:nvSpPr>
        <p:spPr>
          <a:xfrm>
            <a:off x="10574185" y="3627273"/>
            <a:ext cx="15261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Trebuchet MS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Reuniões Técnicas Semanais</a:t>
            </a:r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589" name="Google Shape;589;p36" title="Timeline Arrow"/>
          <p:cNvSpPr/>
          <p:nvPr/>
        </p:nvSpPr>
        <p:spPr>
          <a:xfrm rot="10800000" flipH="1">
            <a:off x="5909534" y="3514100"/>
            <a:ext cx="1423800" cy="580500"/>
          </a:xfrm>
          <a:prstGeom prst="uturnArrow">
            <a:avLst>
              <a:gd name="adj1" fmla="val 27292"/>
              <a:gd name="adj2" fmla="val 13691"/>
              <a:gd name="adj3" fmla="val 20519"/>
              <a:gd name="adj4" fmla="val 48029"/>
              <a:gd name="adj5" fmla="val 96832"/>
            </a:avLst>
          </a:prstGeom>
          <a:solidFill>
            <a:srgbClr val="E1BC6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590" name="Google Shape;590;p36"/>
          <p:cNvSpPr txBox="1"/>
          <p:nvPr/>
        </p:nvSpPr>
        <p:spPr>
          <a:xfrm>
            <a:off x="9159798" y="3834175"/>
            <a:ext cx="2937300" cy="28777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Pts val="1000"/>
              <a:buFont typeface="Arial"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Principais próximas etapas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000"/>
              <a:buFont typeface="Arial"/>
              <a:buAutoNum type="arabicPeriod"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presentação e discussão do desafio da GFP e do plano de acção proposto no Grupo de Trabalho Técnico sobre Financiamento da Saúde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000"/>
              <a:buFont typeface="Arial"/>
              <a:buAutoNum type="arabicPeriod"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isitas de campo a 6 distritos selecionados para reunir mais evidências e garantir que as contribuições de diversos Conselhos Locais sejam capturadas com precisão e usadas para informar o processo de reforma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000"/>
              <a:buFont typeface="Arial"/>
              <a:buAutoNum type="arabicPeriod"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Envolvimento da Gestão do Ministério da Saúde para rever o plano de acção proposto e apoiar a sua implementação</a:t>
            </a:r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000"/>
              <a:buFont typeface="Arial"/>
              <a:buAutoNum type="arabicPeriod"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UNICEF continuará a apoiar o processo de reforma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000"/>
              <a:buFont typeface="Arial"/>
              <a:buAutoNum type="arabicPeriod"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portunidades de aprendizagem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000"/>
              <a:buFont typeface="Arial"/>
              <a:buAutoNum type="arabicPeriod"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Piloto DFF em curso, apoiado pela UNICEF através de fundos FCDO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000"/>
              <a:buFont typeface="Arial"/>
              <a:buAutoNum type="arabicPeriod"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prendendo com o Acordo de Financiamento de Subsídio para Melhoria da Escola Primária (PSIG) do Setor Educacional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91" name="Google Shape;591;p36" title="Duration Text"/>
          <p:cNvSpPr txBox="1"/>
          <p:nvPr/>
        </p:nvSpPr>
        <p:spPr>
          <a:xfrm>
            <a:off x="6032349" y="4328306"/>
            <a:ext cx="12723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000"/>
              <a:buFont typeface="Trebuchet MS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9</a:t>
            </a:r>
            <a:r>
              <a:rPr kumimoji="0" lang="en-US" sz="1000" b="0" i="0" u="none" strike="noStrike" kern="0" cap="none" spc="0" normalizeH="0" baseline="3000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º</a:t>
            </a: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Junho de 2023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92" name="Google Shape;592;p36"/>
          <p:cNvSpPr/>
          <p:nvPr/>
        </p:nvSpPr>
        <p:spPr>
          <a:xfrm>
            <a:off x="8893046" y="2739395"/>
            <a:ext cx="2947800" cy="709200"/>
          </a:xfrm>
          <a:prstGeom prst="bentArrow">
            <a:avLst>
              <a:gd name="adj1" fmla="val 25000"/>
              <a:gd name="adj2" fmla="val 25000"/>
              <a:gd name="adj3" fmla="val 25000"/>
              <a:gd name="adj4" fmla="val 43750"/>
            </a:avLst>
          </a:prstGeom>
          <a:solidFill>
            <a:schemeClr val="dk2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593" name="Google Shape;593;p36" title="Launch Graphic"/>
          <p:cNvGrpSpPr/>
          <p:nvPr/>
        </p:nvGrpSpPr>
        <p:grpSpPr>
          <a:xfrm>
            <a:off x="85249" y="2760293"/>
            <a:ext cx="653796" cy="626989"/>
            <a:chOff x="10961301" y="3355525"/>
            <a:chExt cx="680400" cy="680400"/>
          </a:xfrm>
        </p:grpSpPr>
        <p:sp>
          <p:nvSpPr>
            <p:cNvPr id="594" name="Google Shape;594;p36" title="Launch Circle"/>
            <p:cNvSpPr/>
            <p:nvPr/>
          </p:nvSpPr>
          <p:spPr>
            <a:xfrm>
              <a:off x="10961301" y="3355525"/>
              <a:ext cx="680400" cy="6804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white"/>
                </a:buClr>
                <a:buSzPts val="1800"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endParaRPr>
            </a:p>
          </p:txBody>
        </p:sp>
        <p:pic>
          <p:nvPicPr>
            <p:cNvPr id="595" name="Google Shape;595;p36" title="Launch Icon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11202868" y="3548145"/>
              <a:ext cx="235505" cy="315487"/>
            </a:xfrm>
            <a:prstGeom prst="rect">
              <a:avLst/>
            </a:prstGeom>
            <a:noFill/>
            <a:ln>
              <a:noFill/>
            </a:ln>
          </p:spPr>
        </p:pic>
      </p:grpSp>
      <p:cxnSp>
        <p:nvCxnSpPr>
          <p:cNvPr id="596" name="Google Shape;596;p36" title="Connecter Line"/>
          <p:cNvCxnSpPr/>
          <p:nvPr/>
        </p:nvCxnSpPr>
        <p:spPr>
          <a:xfrm>
            <a:off x="348258" y="3429000"/>
            <a:ext cx="3000" cy="269400"/>
          </a:xfrm>
          <a:prstGeom prst="straightConnector1">
            <a:avLst/>
          </a:prstGeom>
          <a:noFill/>
          <a:ln w="9525" cap="flat" cmpd="sng">
            <a:solidFill>
              <a:srgbClr val="FEFEFE"/>
            </a:solidFill>
            <a:prstDash val="solid"/>
            <a:miter lim="800000"/>
            <a:headEnd type="oval" w="med" len="med"/>
            <a:tailEnd type="oval" w="med" len="med"/>
          </a:ln>
        </p:spPr>
      </p:cxnSp>
      <p:sp>
        <p:nvSpPr>
          <p:cNvPr id="597" name="Google Shape;597;p36" title="Duration Text"/>
          <p:cNvSpPr txBox="1"/>
          <p:nvPr/>
        </p:nvSpPr>
        <p:spPr>
          <a:xfrm>
            <a:off x="67369" y="3818770"/>
            <a:ext cx="1167300" cy="98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000"/>
              <a:buFont typeface="Arial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Novembro de 2022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1BC69"/>
              </a:buClr>
              <a:buSzPts val="1800"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E1BC69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1. Início do trabalho da CABRI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98" name="Google Shape;598;p36"/>
          <p:cNvSpPr txBox="1"/>
          <p:nvPr/>
        </p:nvSpPr>
        <p:spPr>
          <a:xfrm>
            <a:off x="2265831" y="3522200"/>
            <a:ext cx="15261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Trebuchet MS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Reuniões Técnicas Semanais</a:t>
            </a:r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599" name="Google Shape;599;p36"/>
          <p:cNvSpPr txBox="1"/>
          <p:nvPr/>
        </p:nvSpPr>
        <p:spPr>
          <a:xfrm>
            <a:off x="7389334" y="3540435"/>
            <a:ext cx="1526100" cy="13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ts val="900"/>
              <a:buFont typeface="Trebuchet MS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rebuchet MS"/>
                <a:ea typeface="Trebuchet MS"/>
                <a:cs typeface="Trebuchet MS"/>
                <a:sym typeface="Trebuchet MS"/>
              </a:rPr>
              <a:t>Reuniões Técnicas Semanais</a:t>
            </a:r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rebuchet MS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1521132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4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" name="Google Shape;436;p24"/>
          <p:cNvSpPr txBox="1"/>
          <p:nvPr/>
        </p:nvSpPr>
        <p:spPr>
          <a:xfrm>
            <a:off x="5421086" y="7135586"/>
            <a:ext cx="1848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7" name="Google Shape;437;p24"/>
          <p:cNvSpPr/>
          <p:nvPr/>
        </p:nvSpPr>
        <p:spPr>
          <a:xfrm>
            <a:off x="176214" y="44686"/>
            <a:ext cx="11685900" cy="123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E1BC69"/>
              </a:buClr>
              <a:buSzPts val="3200"/>
              <a:buFont typeface="Arial"/>
              <a:buNone/>
            </a:pPr>
            <a:r>
              <a:rPr lang="en-US" sz="3200" b="1" i="0" u="none" strike="noStrike" cap="none" dirty="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Por que isso importa?</a:t>
            </a:r>
            <a:r>
              <a:rPr lang="en-US" sz="2400" b="1" dirty="0">
                <a:solidFill>
                  <a:srgbClr val="00B0F0"/>
                </a:solidFill>
              </a:rPr>
              <a:t>APS f</a:t>
            </a:r>
            <a:r>
              <a:rPr lang="en-US" sz="2400" b="1" i="0" u="none" strike="noStrike" cap="none" dirty="0">
                <a:solidFill>
                  <a:srgbClr val="00B0F0"/>
                </a:solidFill>
                <a:latin typeface="Arial"/>
                <a:ea typeface="Arial"/>
                <a:cs typeface="Arial"/>
                <a:sym typeface="Arial"/>
              </a:rPr>
              <a:t>O financiamento é fundamental para promover o acesso equitativo a serviços integrados de alta qualidade e, ao mesmo tempo, minimizar as dificuldades financeiras</a:t>
            </a:r>
            <a:endParaRPr sz="1800" b="1" i="0" u="none" strike="noStrike" cap="none" dirty="0">
              <a:solidFill>
                <a:srgbClr val="00B0F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8" name="Google Shape;438;p24"/>
          <p:cNvSpPr txBox="1">
            <a:spLocks noGrp="1"/>
          </p:cNvSpPr>
          <p:nvPr>
            <p:ph idx="1"/>
          </p:nvPr>
        </p:nvSpPr>
        <p:spPr>
          <a:xfrm>
            <a:off x="441998" y="1524000"/>
            <a:ext cx="11169000" cy="497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286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Char char="•"/>
            </a:pPr>
            <a:r>
              <a:rPr lang="en-US" sz="2000" b="0" i="0" u="none" strike="noStrik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sto</a:t>
            </a:r>
            <a:r>
              <a:rPr lang="en-US" sz="20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u</a:t>
            </a:r>
            <a:r>
              <a:rPr lang="en-US" sz="2000" b="1" i="0" u="none" strike="noStrik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limita a funcionalidade efetiva das instalações –</a:t>
            </a:r>
            <a:r>
              <a:rPr lang="en-US" sz="2000" b="0" i="0" u="none" strike="noStrik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evido à imprevisibilidade do financiamento para operações básicas e manutenção de instalações</a:t>
            </a:r>
            <a:endParaRPr dirty="0"/>
          </a:p>
          <a:p>
            <a:pPr marL="2286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000"/>
              <a:buChar char="•"/>
            </a:pPr>
            <a:r>
              <a:rPr lang="en-US" sz="2000" b="1" i="0" u="none" strike="noStrik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lgumas instalações ficam com dotações muito baixas, que não se baseiam em quaisquer parâmetros claramente definidos,</a:t>
            </a:r>
            <a:r>
              <a:rPr lang="en-US" sz="2000" i="0" u="none" strike="noStrik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evido ao excesso</a:t>
            </a:r>
            <a:r>
              <a:rPr lang="en-US" sz="20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iscrição dada</a:t>
            </a:r>
            <a:r>
              <a:rPr lang="en-US" sz="2000" i="0" u="none" strike="noStrik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o Gabinete Distrital de Saúde (DHO) no que diz respeito</a:t>
            </a:r>
            <a:r>
              <a:rPr lang="en-US" sz="20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ara o</a:t>
            </a:r>
            <a:r>
              <a:rPr lang="en-US" sz="2000" i="0" u="none" strike="noStrik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efinição das diferentes dotações</a:t>
            </a:r>
            <a:endParaRPr dirty="0"/>
          </a:p>
          <a:p>
            <a:pPr marL="2286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000"/>
              <a:buChar char="•"/>
            </a:pPr>
            <a:r>
              <a:rPr lang="en-US" sz="2000" b="1" i="0" u="none" strike="noStrik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 acordo actual tem o potencial de conduzir a</a:t>
            </a:r>
            <a:r>
              <a:rPr lang="en-US" sz="20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fecções adquiridas em hospitais e, consequentemente, mortalidade infantil e materna,</a:t>
            </a:r>
            <a:r>
              <a:rPr lang="en-US" sz="2000" b="0" i="0" u="none" strike="noStrik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uma vez que as instalações de cuidados de saúde primários não são capazes de responder rápida e eficientemente para fornecer serviços de saúde de qualidade necessários à maior parte da população que reside em zonas rurais e que tem taxas de pobreza mais elevadas</a:t>
            </a:r>
            <a:endParaRPr dirty="0"/>
          </a:p>
          <a:p>
            <a:pPr marL="2286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000"/>
              <a:buChar char="•"/>
            </a:pPr>
            <a:r>
              <a:rPr lang="en-US" sz="2000" b="1" i="0" u="none" strike="noStrik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nvolvimento limitado da comunidade no planeamento, orçamentação e implementação</a:t>
            </a:r>
            <a:r>
              <a:rPr lang="en-US" sz="20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–c</a:t>
            </a:r>
            <a:r>
              <a:rPr lang="en-US" sz="2000" b="0" i="0" u="none" strike="noStrik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s comunidades servidas por instalações governamentais não recebem informações atempadas e transparentes sobre as dotações e a execução orçamental, o que limita a sua capacidade de responsabilizar os gestores das instalações.</a:t>
            </a:r>
            <a:endParaRPr dirty="0"/>
          </a:p>
          <a:p>
            <a:pPr marL="2286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000"/>
              <a:buChar char="•"/>
            </a:pPr>
            <a:r>
              <a:rPr lang="en-US" sz="2000" b="1" i="0" u="none" strike="noStrik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alta de materiais desmoraliza profissionais de saúde</a:t>
            </a:r>
            <a:r>
              <a:rPr lang="en-US" sz="2000" b="0" i="0" u="none" strike="noStrik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, o que resulta em má prestação de serviços.</a:t>
            </a:r>
            <a:endParaRPr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4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4" name="Google Shape;444;p25"/>
          <p:cNvSpPr txBox="1"/>
          <p:nvPr/>
        </p:nvSpPr>
        <p:spPr>
          <a:xfrm>
            <a:off x="5421086" y="7135586"/>
            <a:ext cx="1848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5" name="Google Shape;445;p25"/>
          <p:cNvSpPr/>
          <p:nvPr/>
        </p:nvSpPr>
        <p:spPr>
          <a:xfrm>
            <a:off x="441998" y="44686"/>
            <a:ext cx="11420100" cy="48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28750"/>
              </a:lnSpc>
              <a:spcBef>
                <a:spcPts val="0"/>
              </a:spcBef>
              <a:spcAft>
                <a:spcPts val="0"/>
              </a:spcAft>
              <a:buClr>
                <a:srgbClr val="E1BC69"/>
              </a:buClr>
              <a:buSzPts val="3200"/>
              <a:buFont typeface="Arial"/>
              <a:buNone/>
            </a:pPr>
            <a:r>
              <a:rPr lang="en-US" sz="3200" b="1" i="0" u="none" strike="noStrike" cap="none" dirty="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Causas e subcausas (espinha de peixe)</a:t>
            </a:r>
            <a:endParaRPr dirty="0">
              <a:solidFill>
                <a:schemeClr val="accent2"/>
              </a:solidFill>
            </a:endParaRPr>
          </a:p>
        </p:txBody>
      </p:sp>
      <p:pic>
        <p:nvPicPr>
          <p:cNvPr id="446" name="Google Shape;446;p25"/>
          <p:cNvPicPr preferRelativeResize="0">
            <a:picLocks noGrp="1"/>
          </p:cNvPicPr>
          <p:nvPr>
            <p:ph idx="1"/>
          </p:nvPr>
        </p:nvPicPr>
        <p:blipFill rotWithShape="1">
          <a:blip r:embed="rId3">
            <a:alphaModFix/>
          </a:blip>
          <a:srcRect/>
          <a:stretch/>
        </p:blipFill>
        <p:spPr>
          <a:xfrm>
            <a:off x="887988" y="1253331"/>
            <a:ext cx="10158900" cy="4351200"/>
          </a:xfrm>
          <a:prstGeom prst="rect">
            <a:avLst/>
          </a:prstGeom>
          <a:noFill/>
          <a:ln>
            <a:noFill/>
          </a:ln>
        </p:spPr>
      </p:pic>
      <p:sp>
        <p:nvSpPr>
          <p:cNvPr id="447" name="Google Shape;447;p25"/>
          <p:cNvSpPr/>
          <p:nvPr/>
        </p:nvSpPr>
        <p:spPr>
          <a:xfrm rot="-7507580">
            <a:off x="5480638" y="1492489"/>
            <a:ext cx="3512106" cy="1310644"/>
          </a:xfrm>
          <a:prstGeom prst="ellipse">
            <a:avLst/>
          </a:prstGeom>
          <a:noFill/>
          <a:ln w="28575" cap="flat" cmpd="sng">
            <a:solidFill>
              <a:srgbClr val="FF0000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448" name="Google Shape;448;p25"/>
          <p:cNvGrpSpPr/>
          <p:nvPr/>
        </p:nvGrpSpPr>
        <p:grpSpPr>
          <a:xfrm>
            <a:off x="7596168" y="451280"/>
            <a:ext cx="2743170" cy="1184251"/>
            <a:chOff x="10288542" y="-148545"/>
            <a:chExt cx="2373600" cy="1184251"/>
          </a:xfrm>
        </p:grpSpPr>
        <p:sp>
          <p:nvSpPr>
            <p:cNvPr id="449" name="Google Shape;449;p25"/>
            <p:cNvSpPr txBox="1"/>
            <p:nvPr/>
          </p:nvSpPr>
          <p:spPr>
            <a:xfrm>
              <a:off x="10288542" y="-148545"/>
              <a:ext cx="2373600" cy="954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ts val="1400"/>
                <a:buFont typeface="Arial"/>
                <a:buNone/>
              </a:pPr>
              <a:r>
                <a:rPr lang="en-US" sz="1400" b="1" i="0" u="none" strike="noStrike" cap="none">
                  <a:solidFill>
                    <a:srgbClr val="FF0000"/>
                  </a:solidFill>
                  <a:latin typeface="Arial"/>
                  <a:ea typeface="Arial"/>
                  <a:cs typeface="Arial"/>
                  <a:sym typeface="Arial"/>
                </a:rPr>
                <a:t>A equipe se concentrou principalmente nesta parte da espinha de peixe, um fator chave que contribui para o problema</a:t>
              </a:r>
              <a:endParaRPr/>
            </a:p>
          </p:txBody>
        </p:sp>
        <p:cxnSp>
          <p:nvCxnSpPr>
            <p:cNvPr id="450" name="Google Shape;450;p25"/>
            <p:cNvCxnSpPr/>
            <p:nvPr/>
          </p:nvCxnSpPr>
          <p:spPr>
            <a:xfrm flipH="1">
              <a:off x="10422956" y="653506"/>
              <a:ext cx="394200" cy="382200"/>
            </a:xfrm>
            <a:prstGeom prst="straightConnector1">
              <a:avLst/>
            </a:prstGeom>
            <a:noFill/>
            <a:ln w="9525" cap="flat" cmpd="sng">
              <a:solidFill>
                <a:srgbClr val="FF0000"/>
              </a:solidFill>
              <a:prstDash val="solid"/>
              <a:miter lim="800000"/>
              <a:headEnd type="none" w="sm" len="sm"/>
              <a:tailEnd type="triangle" w="med" len="med"/>
            </a:ln>
          </p:spPr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" name="Google Shape;456;p26"/>
          <p:cNvSpPr txBox="1"/>
          <p:nvPr/>
        </p:nvSpPr>
        <p:spPr>
          <a:xfrm>
            <a:off x="5421086" y="7135586"/>
            <a:ext cx="1848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7" name="Google Shape;457;p26"/>
          <p:cNvSpPr/>
          <p:nvPr/>
        </p:nvSpPr>
        <p:spPr>
          <a:xfrm>
            <a:off x="441998" y="44686"/>
            <a:ext cx="11420100" cy="48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28750"/>
              </a:lnSpc>
              <a:spcBef>
                <a:spcPts val="0"/>
              </a:spcBef>
              <a:spcAft>
                <a:spcPts val="0"/>
              </a:spcAft>
              <a:buClr>
                <a:srgbClr val="E1BC69"/>
              </a:buClr>
              <a:buSzPts val="3200"/>
              <a:buFont typeface="Arial"/>
              <a:buNone/>
            </a:pPr>
            <a:r>
              <a:rPr lang="en-US" sz="3200" b="1" i="0" u="none" strike="noStrike" cap="none" dirty="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Pontos de entrada e ideias para ação</a:t>
            </a:r>
            <a:endParaRPr dirty="0">
              <a:solidFill>
                <a:schemeClr val="accent2"/>
              </a:solidFill>
            </a:endParaRPr>
          </a:p>
        </p:txBody>
      </p:sp>
      <p:graphicFrame>
        <p:nvGraphicFramePr>
          <p:cNvPr id="458" name="Google Shape;458;p26"/>
          <p:cNvGraphicFramePr/>
          <p:nvPr/>
        </p:nvGraphicFramePr>
        <p:xfrm>
          <a:off x="304800" y="819150"/>
          <a:ext cx="11639525" cy="6116605"/>
        </p:xfrm>
        <a:graphic>
          <a:graphicData uri="http://schemas.openxmlformats.org/drawingml/2006/table">
            <a:tbl>
              <a:tblPr>
                <a:noFill/>
                <a:tableStyleId>{2FCFCE20-206A-47F4-BC1C-3F66DA1E6134}</a:tableStyleId>
              </a:tblPr>
              <a:tblGrid>
                <a:gridCol w="31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602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432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646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963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96297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3942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endParaRPr sz="1600" b="1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endParaRPr sz="1600" b="1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Autoridade</a:t>
                      </a:r>
                      <a:endParaRPr sz="1400" b="1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Habilidade</a:t>
                      </a:r>
                      <a:endParaRPr sz="1400" b="1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Aceitação</a:t>
                      </a:r>
                      <a:endParaRPr sz="1400" b="1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Ideias para Ação</a:t>
                      </a:r>
                      <a:endParaRPr sz="1600" b="1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90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#1</a:t>
                      </a:r>
                      <a:endParaRPr sz="1600" b="1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IGFTS fracamente projetado</a:t>
                      </a:r>
                      <a:endParaRPr sz="1600" b="1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400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----&gt;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Falta de diretrizes/mecanismos para financiamento de instalações</a:t>
                      </a:r>
                      <a:endParaRPr sz="1600" b="0" i="0" u="none" strike="noStrike" cap="none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Alto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Alto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Alto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Influenciar o Ministério da Saúde a desenvolver e implementar directrizes para o financiamento das unidades de saúde</a:t>
                      </a:r>
                      <a:endParaRPr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Apoiar o Ministério da Saúde na elaboração e implementação de directrizes para o financiamento das unidades de saúde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400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----&gt;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Falta de linhas de responsabilização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Médio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Alto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Médio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6610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#2</a:t>
                      </a:r>
                      <a:endParaRPr sz="1600" b="1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Dotações orçamentais inadequadas para os LGAs</a:t>
                      </a:r>
                      <a:endParaRPr sz="1600" b="1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7400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----&gt;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Espaço fiscal limitado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Baixo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Baixo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Médio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7400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----&gt;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Baixa geração de receitas (capacidade de OSR a nível local)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Alto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Médio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Alto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7400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----&gt;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Prioridades locais concorrentes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Baixo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Baixo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Alto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7400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----&gt;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Determinação arbitrária de limites orçamentais pelo Tesouro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Alto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Alto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Alto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Advogar junto ao Tesouro, com base nas necessidades orçamentadas identificadas</a:t>
                      </a:r>
                      <a:endParaRPr sz="1600" b="1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3290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endParaRPr sz="1600" b="0" i="0" u="none" strike="noStrike" cap="none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b="0" i="0" u="none" strike="noStrike" cap="none" dirty="0"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4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4" name="Google Shape;464;p27"/>
          <p:cNvSpPr txBox="1"/>
          <p:nvPr/>
        </p:nvSpPr>
        <p:spPr>
          <a:xfrm>
            <a:off x="5421086" y="7135586"/>
            <a:ext cx="1848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5" name="Google Shape;465;p27"/>
          <p:cNvSpPr/>
          <p:nvPr/>
        </p:nvSpPr>
        <p:spPr>
          <a:xfrm>
            <a:off x="441998" y="44686"/>
            <a:ext cx="11420100" cy="101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28750"/>
              </a:lnSpc>
              <a:spcBef>
                <a:spcPts val="0"/>
              </a:spcBef>
              <a:spcAft>
                <a:spcPts val="0"/>
              </a:spcAft>
              <a:buClr>
                <a:srgbClr val="E1BC69"/>
              </a:buClr>
              <a:buSzPts val="3200"/>
              <a:buFont typeface="Arial"/>
              <a:buNone/>
            </a:pPr>
            <a:r>
              <a:rPr lang="en-US" sz="3200" b="1" i="0" u="none" strike="noStrike" cap="none" dirty="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Declaração do problema e ideias para ação: principais insights e lições aprendidas</a:t>
            </a:r>
            <a:endParaRPr sz="3200" b="1" i="0" u="none" strike="noStrike" cap="none" dirty="0">
              <a:solidFill>
                <a:schemeClr val="accen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6" name="Google Shape;466;p27"/>
          <p:cNvSpPr txBox="1">
            <a:spLocks noGrp="1"/>
          </p:cNvSpPr>
          <p:nvPr>
            <p:ph idx="1"/>
          </p:nvPr>
        </p:nvSpPr>
        <p:spPr>
          <a:xfrm>
            <a:off x="441998" y="1446827"/>
            <a:ext cx="11288592" cy="53025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B0F0"/>
              </a:buClr>
              <a:buSzPts val="2000"/>
              <a:buNone/>
            </a:pPr>
            <a:r>
              <a:rPr lang="en-US" sz="1800" b="1" dirty="0">
                <a:solidFill>
                  <a:srgbClr val="00B0F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Fatores que afetam</a:t>
            </a:r>
            <a:r>
              <a:rPr lang="en-US" sz="1800" b="1" i="0" u="none" strike="noStrike" dirty="0">
                <a:solidFill>
                  <a:srgbClr val="00B0F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implementação de financiamento direto de instalações no setor da saúde</a:t>
            </a:r>
            <a:endParaRPr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000"/>
              <a:buNone/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A Espinha de Peixe apresentada foi amplamente acordada, mas as seguintes questões/estrangulamentos foram levantados para consideração à medida que o Governo prossegue esforços para reformar o financiamento dos CPS:</a:t>
            </a:r>
            <a:endParaRPr sz="1800" dirty="0">
              <a:solidFill>
                <a:srgbClr val="00000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  <a:p>
            <a:pPr marL="457200" lvl="0" indent="-4572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AutoNum type="arabicPeriod"/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Medo de má gestão financeira ao nível da unidade e como será gerida</a:t>
            </a:r>
            <a:endParaRPr sz="1800" dirty="0">
              <a:solidFill>
                <a:srgbClr val="000000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  <a:sym typeface="Arial"/>
            </a:endParaRPr>
          </a:p>
          <a:p>
            <a:pPr marL="457200" lvl="0" indent="-4572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AutoNum type="arabicPeriod"/>
            </a:pPr>
            <a:r>
              <a:rPr lang="en-US" sz="1800" b="0" i="0" u="none" strike="noStrike" dirty="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Cepticismo quanto à disponibilidade e adequação dos serviços de apoio do centro – tanto financeiros como médicos.</a:t>
            </a:r>
            <a:endParaRPr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0" indent="-4572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AutoNum type="arabicPeriod"/>
            </a:pPr>
            <a:r>
              <a:rPr lang="en-US" sz="1800" b="1" dirty="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Várias incógnitas</a:t>
            </a: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, com as seguintes questões-chave emergindo</a:t>
            </a:r>
            <a:endParaRPr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0" lvl="1" indent="-457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AutoNum type="alphaLcPeriod"/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“</a:t>
            </a:r>
            <a:r>
              <a:rPr lang="en-US" sz="1400" i="1" dirty="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por onde começar?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”</a:t>
            </a:r>
            <a:endParaRPr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0" lvl="1" indent="-457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AutoNum type="alphaLcPeriod"/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“e se não funcionar bem”</a:t>
            </a:r>
            <a:endParaRPr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0" lvl="1" indent="-457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AutoNum type="alphaLcPeriod"/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Se falhar, quão significativo será o custo humano?</a:t>
            </a:r>
            <a:endParaRPr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0" indent="-4572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AutoNum type="arabicPeriod"/>
            </a:pPr>
            <a:r>
              <a:rPr lang="en-US" sz="1800" b="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argumento em torno da criação de centros de custos para unidades de saúde versus os requisitos para uma instalação atingir os custos</a:t>
            </a: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 central</a:t>
            </a:r>
            <a:r>
              <a:rPr lang="en-US" sz="1800" b="0" i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esouro</a:t>
            </a:r>
            <a:endParaRPr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0" indent="-4572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AutoNum type="arabicPeriod"/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eios sobre a capacidade da capacidade de geração de receitas actualmente limitada do Malawi para angariar de forma sustentável os fundos necessários para apoiar o financiamento directo previsível às instalações.</a:t>
            </a:r>
            <a:endParaRPr sz="1800" b="0" i="0" u="none" strike="noStrike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28"/>
          <p:cNvSpPr txBox="1">
            <a:spLocks noGrp="1"/>
          </p:cNvSpPr>
          <p:nvPr>
            <p:ph type="ctrTitle"/>
          </p:nvPr>
        </p:nvSpPr>
        <p:spPr>
          <a:xfrm>
            <a:off x="650012" y="179875"/>
            <a:ext cx="10615800" cy="10726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 fontScale="90000"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1BC69"/>
              </a:buClr>
              <a:buSzPts val="4000"/>
              <a:buFont typeface="Arial"/>
              <a:buNone/>
            </a:pPr>
            <a:r>
              <a:rPr lang="en-US" sz="40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roveitar o trabalho contínuo de GFP e as plataformas setoriais</a:t>
            </a:r>
            <a:endParaRPr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72" name="Google Shape;472;p28"/>
          <p:cNvGrpSpPr/>
          <p:nvPr/>
        </p:nvGrpSpPr>
        <p:grpSpPr>
          <a:xfrm>
            <a:off x="378895" y="1192256"/>
            <a:ext cx="11235501" cy="5485869"/>
            <a:chOff x="350765" y="0"/>
            <a:chExt cx="10193328" cy="5191200"/>
          </a:xfrm>
        </p:grpSpPr>
        <p:sp>
          <p:nvSpPr>
            <p:cNvPr id="473" name="Google Shape;473;p28"/>
            <p:cNvSpPr/>
            <p:nvPr/>
          </p:nvSpPr>
          <p:spPr>
            <a:xfrm>
              <a:off x="801748" y="0"/>
              <a:ext cx="9086400" cy="5191200"/>
            </a:xfrm>
            <a:prstGeom prst="rightArrow">
              <a:avLst>
                <a:gd name="adj1" fmla="val 50000"/>
                <a:gd name="adj2" fmla="val 50000"/>
              </a:avLst>
            </a:prstGeom>
            <a:solidFill>
              <a:srgbClr val="CCD3E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4" name="Google Shape;474;p28"/>
            <p:cNvSpPr/>
            <p:nvPr/>
          </p:nvSpPr>
          <p:spPr>
            <a:xfrm>
              <a:off x="350765" y="1557337"/>
              <a:ext cx="9988500" cy="2076600"/>
            </a:xfrm>
            <a:prstGeom prst="roundRect">
              <a:avLst>
                <a:gd name="adj" fmla="val 16667"/>
              </a:avLst>
            </a:prstGeom>
            <a:solidFill>
              <a:srgbClr val="4372C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5" name="Google Shape;475;p28"/>
            <p:cNvSpPr txBox="1"/>
            <p:nvPr/>
          </p:nvSpPr>
          <p:spPr>
            <a:xfrm>
              <a:off x="452130" y="1444065"/>
              <a:ext cx="10091963" cy="325523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400"/>
                <a:buFont typeface="Arial"/>
                <a:buNone/>
              </a:pPr>
              <a:endParaRPr lang="en-US" sz="20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400"/>
                <a:buFont typeface="Arial"/>
                <a:buNone/>
              </a:pPr>
              <a:r>
                <a:rPr lang="en-US" sz="2000" b="1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No geral, existe uma forte vontade, tanto a nível central como a nível local, de explorar a iniciativa de financiamento direto do instrumento, aproveitando o trabalho em curso e as plataformas técnicas.</a:t>
              </a:r>
              <a:r>
                <a:rPr lang="en-US" sz="2000" b="0" i="0" u="none" strike="noStrike" cap="none" dirty="0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rPr>
                <a:t>Por exemplo:</a:t>
              </a:r>
              <a:endParaRPr sz="2000" dirty="0"/>
            </a:p>
            <a:p>
              <a:pPr marL="171450" marR="0" lvl="1" indent="-171450" algn="l" rtl="0">
                <a:lnSpc>
                  <a:spcPct val="90000"/>
                </a:lnSpc>
                <a:spcBef>
                  <a:spcPts val="840"/>
                </a:spcBef>
                <a:spcAft>
                  <a:spcPts val="0"/>
                </a:spcAft>
                <a:buClr>
                  <a:schemeClr val="lt1"/>
                </a:buClr>
                <a:buSzPts val="1900"/>
                <a:buFont typeface="Arial"/>
                <a:buChar char="•"/>
              </a:pPr>
              <a:r>
                <a:rPr lang="en-US" b="0" i="0" u="none" strike="noStrike" cap="none" dirty="0">
                  <a:solidFill>
                    <a:schemeClr val="lt1"/>
                  </a:solidFill>
                  <a:sym typeface="Arial"/>
                </a:rPr>
                <a:t>Disponibilidade de um Grupo de Trabalho sobre Financiamento Direto do Mecanismo</a:t>
              </a:r>
            </a:p>
            <a:p>
              <a:pPr marL="171450" marR="0" lvl="1" indent="-171450" algn="l" rtl="0">
                <a:lnSpc>
                  <a:spcPct val="90000"/>
                </a:lnSpc>
                <a:spcBef>
                  <a:spcPts val="840"/>
                </a:spcBef>
                <a:spcAft>
                  <a:spcPts val="0"/>
                </a:spcAft>
                <a:buClr>
                  <a:schemeClr val="lt1"/>
                </a:buClr>
                <a:buSzPts val="1900"/>
                <a:buFont typeface="Arial"/>
                <a:buChar char="•"/>
              </a:pPr>
              <a:r>
                <a:rPr lang="en-US" dirty="0">
                  <a:solidFill>
                    <a:schemeClr val="lt1"/>
                  </a:solidFill>
                </a:rPr>
                <a:t>Visita de estudo de membros da força-tarefa à Tanzânia na DFF</a:t>
              </a:r>
              <a:endParaRPr dirty="0">
                <a:solidFill>
                  <a:schemeClr val="lt1"/>
                </a:solidFill>
              </a:endParaRPr>
            </a:p>
            <a:p>
              <a:pPr marL="171450" marR="0" lvl="1" indent="-171450" algn="l" rtl="0">
                <a:lnSpc>
                  <a:spcPct val="90000"/>
                </a:lnSpc>
                <a:spcBef>
                  <a:spcPts val="285"/>
                </a:spcBef>
                <a:spcAft>
                  <a:spcPts val="0"/>
                </a:spcAft>
                <a:buClr>
                  <a:schemeClr val="lt1"/>
                </a:buClr>
                <a:buSzPts val="1900"/>
                <a:buFont typeface="Arial"/>
                <a:buChar char="•"/>
              </a:pPr>
              <a:r>
                <a:rPr lang="en-US" b="0" i="0" u="none" strike="noStrike" cap="none" dirty="0">
                  <a:solidFill>
                    <a:schemeClr val="lt1"/>
                  </a:solidFill>
                  <a:sym typeface="Arial"/>
                </a:rPr>
                <a:t>Piloto DFF em andamento em um conselho local, Rumphi</a:t>
              </a:r>
            </a:p>
            <a:p>
              <a:pPr marL="171450" lvl="1" indent="-171450" algn="l" rtl="0">
                <a:lnSpc>
                  <a:spcPct val="90000"/>
                </a:lnSpc>
                <a:spcBef>
                  <a:spcPts val="285"/>
                </a:spcBef>
                <a:buClr>
                  <a:schemeClr val="lt1"/>
                </a:buClr>
                <a:buSzPts val="1900"/>
                <a:buFont typeface="Arial"/>
                <a:buChar char="•"/>
              </a:pPr>
              <a:r>
                <a:rPr lang="en-US" dirty="0">
                  <a:solidFill>
                    <a:schemeClr val="lt1"/>
                  </a:solidFill>
                </a:rPr>
                <a:t>Membro da CABRI (do Ministério da Saúde) que preside ao grupo de trabalho da DFF</a:t>
              </a:r>
            </a:p>
            <a:p>
              <a:pPr marL="171450" marR="0" lvl="1" indent="-171450" algn="l" rtl="0">
                <a:lnSpc>
                  <a:spcPct val="90000"/>
                </a:lnSpc>
                <a:spcBef>
                  <a:spcPts val="285"/>
                </a:spcBef>
                <a:spcAft>
                  <a:spcPts val="0"/>
                </a:spcAft>
                <a:buClr>
                  <a:schemeClr val="lt1"/>
                </a:buClr>
                <a:buSzPts val="1900"/>
                <a:buFont typeface="Arial"/>
                <a:buChar char="•"/>
              </a:pPr>
              <a:endParaRPr lang="en-US" b="0" i="0" u="none" strike="noStrike" cap="none" dirty="0">
                <a:solidFill>
                  <a:schemeClr val="lt1"/>
                </a:solidFill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AE74F0-7B2F-49DF-8F82-9E29813DA2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123" y="385333"/>
            <a:ext cx="11170246" cy="629957"/>
          </a:xfrm>
        </p:spPr>
        <p:txBody>
          <a:bodyPr>
            <a:normAutofit fontScale="90000"/>
          </a:bodyPr>
          <a:lstStyle/>
          <a:p>
            <a:pPr algn="l" rtl="0"/>
            <a:r>
              <a:rPr lang="en-US" sz="32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ncipais lições aprendidas para a implementação do DHFF na Tanzâni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FE802B-DF5A-4577-BA1E-ADF9AF5BB8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628" y="1539106"/>
            <a:ext cx="10740832" cy="4063488"/>
          </a:xfrm>
        </p:spPr>
        <p:txBody>
          <a:bodyPr>
            <a:normAutofit/>
          </a:bodyPr>
          <a:lstStyle/>
          <a:p>
            <a:pPr marL="628650" indent="-514350" algn="l" rtl="0">
              <a:buFont typeface="+mj-lt"/>
              <a:buAutoNum type="arabicPeriod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 autonomia das unidades de saúde traz eficiência; criar espaço onde as unidades de saúde possam atuar de forma independente</a:t>
            </a:r>
          </a:p>
          <a:p>
            <a:pPr marL="628650" indent="-514350" algn="l" rtl="0">
              <a:buFont typeface="+mj-lt"/>
              <a:buAutoNum type="arabicPeriod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 disponibilidade de facilitadores, por exemplo, procedimentos e diretrizes operacionais padrão (partilha de custos, digitalização, etc.), traz consistência, previsibilidade e ordem na gestão do DHFF</a:t>
            </a:r>
          </a:p>
          <a:p>
            <a:pPr marL="628650" indent="-514350" algn="l" rtl="0">
              <a:buFont typeface="+mj-lt"/>
              <a:buAutoNum type="arabicPeriod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 digitalização é fundamental e evita ineficiência no sistema em todos os níveis</a:t>
            </a:r>
          </a:p>
          <a:p>
            <a:pPr marL="628650" indent="-514350" algn="l" rtl="0">
              <a:buFont typeface="+mj-lt"/>
              <a:buAutoNum type="arabicPeriod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Um melhor planeamento e o envolvimento da comunidade no processo produzem melhores resultados</a:t>
            </a:r>
          </a:p>
          <a:p>
            <a:pPr marL="628650" indent="-514350" algn="l" rtl="0">
              <a:buFont typeface="+mj-lt"/>
              <a:buAutoNum type="arabicPeriod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 Implementação DFF é um processo que é refinado ao longo do caminho; aprender durante a implementação.</a:t>
            </a:r>
          </a:p>
          <a:p>
            <a:pPr marL="628650" indent="-514350" algn="l" rtl="0">
              <a:buFont typeface="+mj-lt"/>
              <a:buAutoNum type="arabicPeriod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O empoderamento comunitário em todo o ciclo de gestão das Finanças Públicas é fundamental para aumentar a transparência e a responsabilização.</a:t>
            </a:r>
          </a:p>
          <a:p>
            <a:pPr algn="l" rtl="0"/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0734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37D99B-50E2-44A1-8A10-A7BBF745EE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8664" y="136526"/>
            <a:ext cx="10981718" cy="857388"/>
          </a:xfrm>
        </p:spPr>
        <p:txBody>
          <a:bodyPr>
            <a:noAutofit/>
          </a:bodyPr>
          <a:lstStyle/>
          <a:p>
            <a:pPr algn="l" rtl="0"/>
            <a:r>
              <a:rPr lang="en-US" sz="2400" dirty="0">
                <a:solidFill>
                  <a:srgbClr val="FF9933"/>
                </a:solidFill>
              </a:rPr>
              <a:t>Experiência da implementação da Bolsa de Melhoria do Ensino Primário (PSIG) na melhoria da autonomia e implementação orçament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F346A9-7A2B-43F0-B3D1-75F26E5B50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4825" y="1217751"/>
            <a:ext cx="10910888" cy="5468799"/>
          </a:xfrm>
        </p:spPr>
        <p:txBody>
          <a:bodyPr>
            <a:noAutofit/>
          </a:bodyPr>
          <a:lstStyle/>
          <a:p>
            <a:pPr algn="l" rtl="0"/>
            <a:r>
              <a:rPr lang="en-US" sz="1800" dirty="0"/>
              <a:t>No Malawi, as escolas públicas (primárias) acedem a fundos através dos Conselhos Locais, tendo cada escola a sua própria conta bancária;</a:t>
            </a:r>
          </a:p>
          <a:p>
            <a:pPr algn="l" rtl="0"/>
            <a:r>
              <a:rPr lang="en-US" sz="1800" dirty="0"/>
              <a:t>Uma vez feito o financiamento a nível do Conselho, os recursos são remetidos para as contas bancárias das escolas com base no fluxo de caixa fornecido;</a:t>
            </a:r>
          </a:p>
          <a:p>
            <a:pPr algn="l" rtl="0"/>
            <a:r>
              <a:rPr lang="en-US" sz="1800" dirty="0"/>
              <a:t>Depois que as escolas recebem os fundos, elas começam a gastar de acordo com o que está no seu plano de melhoria escolar (SIP);</a:t>
            </a:r>
          </a:p>
          <a:p>
            <a:pPr algn="l" rtl="0"/>
            <a:r>
              <a:rPr lang="en-US" sz="1800" dirty="0"/>
              <a:t>Um dos funcionários da escola é designado para gerir os fundos da escola com orientação do Diretor (HT) e do Comité de Gestão Escolar (SMC);</a:t>
            </a:r>
          </a:p>
          <a:p>
            <a:pPr algn="l" rtl="0"/>
            <a:r>
              <a:rPr lang="en-US" sz="1800" dirty="0"/>
              <a:t>As escolas trabalham em estreita colaboração com órgãos de supervisão como os SMC para fins de transparência e responsabilização;</a:t>
            </a:r>
          </a:p>
          <a:p>
            <a:pPr algn="l" rtl="0"/>
            <a:r>
              <a:rPr lang="en-US" sz="1800" dirty="0"/>
              <a:t>As escolas não podem gastar sem o consentimento dos SMC;</a:t>
            </a:r>
          </a:p>
          <a:p>
            <a:pPr algn="l" rtl="0"/>
            <a:r>
              <a:rPr lang="en-US" sz="1800" dirty="0"/>
              <a:t>Para garantir que as escolas estão a implementar o que está estipulado no SIP, os pedidos de pagamentos são submetidos ao Gabinete Distrital de Educação para aprovação. Da mesma forma, o gabinete DE realiza visitas regulares de monitorização às escolas.</a:t>
            </a:r>
          </a:p>
          <a:p>
            <a:pPr algn="l" rtl="0"/>
            <a:r>
              <a:rPr lang="en-US" sz="1800" dirty="0"/>
              <a:t>Esta abordagem melhorou a autonomia e garantiu a execução consistente dos orçamentos atribuídos ao sector da educação</a:t>
            </a:r>
          </a:p>
          <a:p>
            <a:pPr algn="l" rtl="0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3158819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cet">
  <a:themeElements>
    <a:clrScheme name="Facet">
      <a:dk1>
        <a:srgbClr val="000000"/>
      </a:dk1>
      <a:lt1>
        <a:srgbClr val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66</TotalTime>
  <Words>3266</Words>
  <Application>Microsoft Office PowerPoint</Application>
  <PresentationFormat>Widescreen</PresentationFormat>
  <Paragraphs>272</Paragraphs>
  <Slides>21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0" baseType="lpstr">
      <vt:lpstr>Arial</vt:lpstr>
      <vt:lpstr>Calibri</vt:lpstr>
      <vt:lpstr>Calibri Light</vt:lpstr>
      <vt:lpstr>Noto Sans Symbols</vt:lpstr>
      <vt:lpstr>Trebuchet MS</vt:lpstr>
      <vt:lpstr>Facet</vt:lpstr>
      <vt:lpstr>Office Theme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proveitar o trabalho contínuo de GFP e as plataformas setoriais</vt:lpstr>
      <vt:lpstr>Principais lições aprendidas para a implementação do DHFF na Tanzânia</vt:lpstr>
      <vt:lpstr>Experiência da implementação da Bolsa de Melhoria do Ensino Primário (PSIG) na melhoria da autonomia e implementação orçamental</vt:lpstr>
      <vt:lpstr>Lições do setor educacional</vt:lpstr>
      <vt:lpstr>Para o Sector da Saúde: o financiamento directo das instalações de saúde (DHFF) é uma das reformas “revolucionárias” do Plano Estratégico III do Sector da Saúde e da Estratégia Nacional de Financiamento da Saúde</vt:lpstr>
      <vt:lpstr>Objetivos do DFF no HSSP III e HFS</vt:lpstr>
      <vt:lpstr> Pré-requisitos gerais para implementação do DFF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ões e Recomendações</vt:lpstr>
      <vt:lpstr>PowerPoint Presentation</vt:lpstr>
      <vt:lpstr>Progresso desde o Workshop de Estrutura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X1 Carbon</dc:creator>
  <cp:lastModifiedBy>ESARO Social Policy</cp:lastModifiedBy>
  <cp:revision>14</cp:revision>
  <dcterms:modified xsi:type="dcterms:W3CDTF">2023-11-03T14:31:07Z</dcterms:modified>
</cp:coreProperties>
</file>